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4184" r:id="rId5"/>
  </p:sldMasterIdLst>
  <p:notesMasterIdLst>
    <p:notesMasterId r:id="rId38"/>
  </p:notesMasterIdLst>
  <p:handoutMasterIdLst>
    <p:handoutMasterId r:id="rId39"/>
  </p:handoutMasterIdLst>
  <p:sldIdLst>
    <p:sldId id="2145709114" r:id="rId6"/>
    <p:sldId id="2145709116" r:id="rId7"/>
    <p:sldId id="2145709135" r:id="rId8"/>
    <p:sldId id="2145709119" r:id="rId9"/>
    <p:sldId id="2145709151" r:id="rId10"/>
    <p:sldId id="2145709136" r:id="rId11"/>
    <p:sldId id="2145709118" r:id="rId12"/>
    <p:sldId id="2145709120" r:id="rId13"/>
    <p:sldId id="2145709152" r:id="rId14"/>
    <p:sldId id="2145709121" r:id="rId15"/>
    <p:sldId id="2145709153" r:id="rId16"/>
    <p:sldId id="2145709142" r:id="rId17"/>
    <p:sldId id="2145709143" r:id="rId18"/>
    <p:sldId id="2145709144" r:id="rId19"/>
    <p:sldId id="2145709145" r:id="rId20"/>
    <p:sldId id="2145709146" r:id="rId21"/>
    <p:sldId id="2145709154" r:id="rId22"/>
    <p:sldId id="2145709147" r:id="rId23"/>
    <p:sldId id="2145709148" r:id="rId24"/>
    <p:sldId id="2145709189" r:id="rId25"/>
    <p:sldId id="2145709190" r:id="rId26"/>
    <p:sldId id="2145709155" r:id="rId27"/>
    <p:sldId id="2145709134" r:id="rId28"/>
    <p:sldId id="2145709191" r:id="rId29"/>
    <p:sldId id="2145709192" r:id="rId30"/>
    <p:sldId id="2145709186" r:id="rId31"/>
    <p:sldId id="2145709187" r:id="rId32"/>
    <p:sldId id="2145709188" r:id="rId33"/>
    <p:sldId id="2145709193" r:id="rId34"/>
    <p:sldId id="2145709194" r:id="rId35"/>
    <p:sldId id="2145709195" r:id="rId36"/>
    <p:sldId id="2145709184" r:id="rId37"/>
  </p:sldIdLst>
  <p:sldSz cx="12192000" cy="6858000"/>
  <p:notesSz cx="6805613" cy="99441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C0F3A01-5382-4C5E-B777-035C756DA22B}">
          <p14:sldIdLst>
            <p14:sldId id="2145709114"/>
          </p14:sldIdLst>
        </p14:section>
        <p14:section name="المحتوى" id="{96345FDE-E875-491E-9245-1B3D5FAF983B}">
          <p14:sldIdLst>
            <p14:sldId id="2145709116"/>
            <p14:sldId id="2145709135"/>
          </p14:sldIdLst>
        </p14:section>
        <p14:section name="صفحة تسجيل الدخول" id="{ECDFFDFB-9D2E-46C4-8163-93E8F8F974DC}">
          <p14:sldIdLst>
            <p14:sldId id="2145709119"/>
            <p14:sldId id="2145709151"/>
          </p14:sldIdLst>
        </p14:section>
        <p14:section name="الصفحة الرئيسية" id="{2C45CFA8-9E4A-4282-A69F-802B35C21D1D}">
          <p14:sldIdLst>
            <p14:sldId id="2145709136"/>
            <p14:sldId id="2145709118"/>
          </p14:sldIdLst>
        </p14:section>
        <p14:section name="الإستراتيجية" id="{827779F5-C295-4ECC-8A69-BCA1FA223E12}">
          <p14:sldIdLst>
            <p14:sldId id="2145709120"/>
          </p14:sldIdLst>
        </p14:section>
        <p14:section name="جميع مؤشرات الاداء" id="{E55A2775-4ED7-4C4A-88B1-4A08D24BF248}">
          <p14:sldIdLst>
            <p14:sldId id="2145709152"/>
            <p14:sldId id="2145709121"/>
          </p14:sldIdLst>
        </p14:section>
        <p14:section name="مركز المهام" id="{83F76772-600E-4118-BD40-79A2D585E5E6}">
          <p14:sldIdLst>
            <p14:sldId id="2145709153"/>
            <p14:sldId id="2145709142"/>
            <p14:sldId id="2145709143"/>
            <p14:sldId id="2145709144"/>
            <p14:sldId id="2145709145"/>
            <p14:sldId id="2145709146"/>
          </p14:sldIdLst>
        </p14:section>
        <p14:section name="المبادرات" id="{334F02FF-1D18-429F-8905-2D9552847CEF}">
          <p14:sldIdLst>
            <p14:sldId id="2145709154"/>
            <p14:sldId id="2145709147"/>
            <p14:sldId id="2145709148"/>
            <p14:sldId id="2145709189"/>
            <p14:sldId id="2145709190"/>
          </p14:sldIdLst>
        </p14:section>
        <p14:section name="التقارير" id="{6D367DBF-9A94-415D-ACB9-B9AD20B7ABA3}">
          <p14:sldIdLst>
            <p14:sldId id="2145709155"/>
            <p14:sldId id="2145709134"/>
          </p14:sldIdLst>
        </p14:section>
        <p14:section name="لوحة اداء" id="{BB976886-BDFA-49D3-BF54-74D87B1E5140}">
          <p14:sldIdLst>
            <p14:sldId id="2145709191"/>
            <p14:sldId id="2145709192"/>
            <p14:sldId id="2145709186"/>
            <p14:sldId id="2145709187"/>
            <p14:sldId id="2145709188"/>
            <p14:sldId id="2145709193"/>
            <p14:sldId id="2145709194"/>
          </p14:sldIdLst>
        </p14:section>
        <p14:section name="الخروج من النظام" id="{5752C114-52CC-4932-8814-A1A597F1A7D5}">
          <p14:sldIdLst>
            <p14:sldId id="2145709195"/>
            <p14:sldId id="2145709184"/>
          </p14:sldIdLst>
        </p14:section>
      </p14:sectionLst>
    </p:ext>
    <p:ext uri="{EFAFB233-063F-42B5-8137-9DF3F51BA10A}">
      <p15:sldGuideLst xmlns:p15="http://schemas.microsoft.com/office/powerpoint/2012/main">
        <p15:guide id="2" orient="horz" pos="4272" userDrawn="1">
          <p15:clr>
            <a:srgbClr val="B49696"/>
          </p15:clr>
        </p15:guide>
        <p15:guide id="6" pos="2592" userDrawn="1">
          <p15:clr>
            <a:srgbClr val="B49696"/>
          </p15:clr>
        </p15:guide>
        <p15:guide id="7" pos="3840" userDrawn="1">
          <p15:clr>
            <a:srgbClr val="B49696"/>
          </p15:clr>
        </p15:guide>
        <p15:guide id="8" pos="1896" userDrawn="1">
          <p15:clr>
            <a:srgbClr val="B49696"/>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E7E09A-A926-EAF7-8F6F-D872746A136B}" name="Mohammed Alsoghair" initials="MA" userId="S::malsoghair@mngdp.com::46a25999-db98-4304-a5f5-491e1e3116a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adaoui, Olfa" initials="SO" lastIdx="6" clrIdx="0">
    <p:extLst>
      <p:ext uri="{19B8F6BF-5375-455C-9EA6-DF929625EA0E}">
        <p15:presenceInfo xmlns:p15="http://schemas.microsoft.com/office/powerpoint/2012/main" userId="S::osaada01@atkearney.com::cd72051f-f0dd-4950-97f9-0493b18839f9" providerId="AD"/>
      </p:ext>
    </p:extLst>
  </p:cmAuthor>
  <p:cmAuthor id="2" name="Worsley, Duncan" initials="WD" lastIdx="1" clrIdx="1">
    <p:extLst>
      <p:ext uri="{19B8F6BF-5375-455C-9EA6-DF929625EA0E}">
        <p15:presenceInfo xmlns:p15="http://schemas.microsoft.com/office/powerpoint/2012/main" userId="S::dworsl01@atkearney.com::1c87d540-9c1d-45dd-9e3b-e8faf6a8a5fa" providerId="AD"/>
      </p:ext>
    </p:extLst>
  </p:cmAuthor>
  <p:cmAuthor id="3" name="Majed Ahmed Alsalem" initials="MA" lastIdx="8" clrIdx="2">
    <p:extLst>
      <p:ext uri="{19B8F6BF-5375-455C-9EA6-DF929625EA0E}">
        <p15:presenceInfo xmlns:p15="http://schemas.microsoft.com/office/powerpoint/2012/main" userId="S::masalem@mngdp.com::4d9157e6-0894-4ec8-a071-f83ba0a49e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A065"/>
    <a:srgbClr val="85CC5D"/>
    <a:srgbClr val="48833D"/>
    <a:srgbClr val="33435A"/>
    <a:srgbClr val="F2F2F2"/>
    <a:srgbClr val="F1EDE4"/>
    <a:srgbClr val="F2FAEE"/>
    <a:srgbClr val="F2ECE0"/>
    <a:srgbClr val="A6A6A6"/>
    <a:srgbClr val="BBAA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468F96-23D0-441E-99D9-F383B9EB1F8F}" v="486" dt="2025-02-17T08:19:00.0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47" autoAdjust="0"/>
    <p:restoredTop sz="94660"/>
  </p:normalViewPr>
  <p:slideViewPr>
    <p:cSldViewPr snapToGrid="0">
      <p:cViewPr varScale="1">
        <p:scale>
          <a:sx n="77" d="100"/>
          <a:sy n="77" d="100"/>
        </p:scale>
        <p:origin x="69" y="189"/>
      </p:cViewPr>
      <p:guideLst>
        <p:guide orient="horz" pos="4272"/>
        <p:guide pos="2592"/>
        <p:guide pos="3840"/>
        <p:guide pos="1896"/>
      </p:guideLst>
    </p:cSldViewPr>
  </p:slideViewPr>
  <p:notesTextViewPr>
    <p:cViewPr>
      <p:scale>
        <a:sx n="1" d="1"/>
        <a:sy n="1" d="1"/>
      </p:scale>
      <p:origin x="0" y="0"/>
    </p:cViewPr>
  </p:notesTextViewPr>
  <p:notesViewPr>
    <p:cSldViewPr snapToGrid="0">
      <p:cViewPr>
        <p:scale>
          <a:sx n="1" d="2"/>
          <a:sy n="1" d="2"/>
        </p:scale>
        <p:origin x="0" y="0"/>
      </p:cViewPr>
      <p:guideLst>
        <p:guide orient="horz" pos="3132"/>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san Alkaltham" userId="66892628e8126b54" providerId="LiveId" clId="{EC468F96-23D0-441E-99D9-F383B9EB1F8F}"/>
    <pc:docChg chg="undo custSel addSld delSld modSld sldOrd addSection delSection modSection">
      <pc:chgData name="Wasan Alkaltham" userId="66892628e8126b54" providerId="LiveId" clId="{EC468F96-23D0-441E-99D9-F383B9EB1F8F}" dt="2025-02-17T08:19:00.029" v="3280"/>
      <pc:docMkLst>
        <pc:docMk/>
      </pc:docMkLst>
      <pc:sldChg chg="modSp mod">
        <pc:chgData name="Wasan Alkaltham" userId="66892628e8126b54" providerId="LiveId" clId="{EC468F96-23D0-441E-99D9-F383B9EB1F8F}" dt="2025-02-16T10:41:59.458" v="3113" actId="20577"/>
        <pc:sldMkLst>
          <pc:docMk/>
          <pc:sldMk cId="944378670" sldId="2145709114"/>
        </pc:sldMkLst>
        <pc:spChg chg="mod">
          <ac:chgData name="Wasan Alkaltham" userId="66892628e8126b54" providerId="LiveId" clId="{EC468F96-23D0-441E-99D9-F383B9EB1F8F}" dt="2025-02-16T10:41:59.458" v="3113" actId="20577"/>
          <ac:spMkLst>
            <pc:docMk/>
            <pc:sldMk cId="944378670" sldId="2145709114"/>
            <ac:spMk id="3" creationId="{21A9CC25-420B-7EE6-32F3-C7FE982A033C}"/>
          </ac:spMkLst>
        </pc:spChg>
      </pc:sldChg>
      <pc:sldChg chg="addSp delSp modSp mod">
        <pc:chgData name="Wasan Alkaltham" userId="66892628e8126b54" providerId="LiveId" clId="{EC468F96-23D0-441E-99D9-F383B9EB1F8F}" dt="2025-02-16T10:41:52.584" v="3112" actId="478"/>
        <pc:sldMkLst>
          <pc:docMk/>
          <pc:sldMk cId="3836504569" sldId="2145709118"/>
        </pc:sldMkLst>
        <pc:spChg chg="add del mod">
          <ac:chgData name="Wasan Alkaltham" userId="66892628e8126b54" providerId="LiveId" clId="{EC468F96-23D0-441E-99D9-F383B9EB1F8F}" dt="2025-02-16T09:58:32.814" v="2453"/>
          <ac:spMkLst>
            <pc:docMk/>
            <pc:sldMk cId="3836504569" sldId="2145709118"/>
            <ac:spMk id="2" creationId="{F051A0AD-5DAB-67B0-39F8-B7146B5A3BAE}"/>
          </ac:spMkLst>
        </pc:spChg>
        <pc:spChg chg="mod">
          <ac:chgData name="Wasan Alkaltham" userId="66892628e8126b54" providerId="LiveId" clId="{EC468F96-23D0-441E-99D9-F383B9EB1F8F}" dt="2025-02-16T09:58:58.480" v="2460" actId="20577"/>
          <ac:spMkLst>
            <pc:docMk/>
            <pc:sldMk cId="3836504569" sldId="2145709118"/>
            <ac:spMk id="3" creationId="{006DC2EB-2225-E70F-BA90-F8252AD6ABD1}"/>
          </ac:spMkLst>
        </pc:spChg>
        <pc:spChg chg="add del mod">
          <ac:chgData name="Wasan Alkaltham" userId="66892628e8126b54" providerId="LiveId" clId="{EC468F96-23D0-441E-99D9-F383B9EB1F8F}" dt="2025-02-16T09:58:32.814" v="2453"/>
          <ac:spMkLst>
            <pc:docMk/>
            <pc:sldMk cId="3836504569" sldId="2145709118"/>
            <ac:spMk id="4" creationId="{D9222710-F8BB-E12F-9509-8820E9A536FE}"/>
          </ac:spMkLst>
        </pc:spChg>
        <pc:spChg chg="add del mod">
          <ac:chgData name="Wasan Alkaltham" userId="66892628e8126b54" providerId="LiveId" clId="{EC468F96-23D0-441E-99D9-F383B9EB1F8F}" dt="2025-02-16T09:58:32.814" v="2453"/>
          <ac:spMkLst>
            <pc:docMk/>
            <pc:sldMk cId="3836504569" sldId="2145709118"/>
            <ac:spMk id="6" creationId="{9BD7D05C-9AB7-848C-296E-60E212760EE6}"/>
          </ac:spMkLst>
        </pc:spChg>
        <pc:spChg chg="del">
          <ac:chgData name="Wasan Alkaltham" userId="66892628e8126b54" providerId="LiveId" clId="{EC468F96-23D0-441E-99D9-F383B9EB1F8F}" dt="2025-02-16T10:41:50.952" v="3111" actId="478"/>
          <ac:spMkLst>
            <pc:docMk/>
            <pc:sldMk cId="3836504569" sldId="2145709118"/>
            <ac:spMk id="7" creationId="{2FFB1D2D-AF35-DC44-8117-41043DB6F746}"/>
          </ac:spMkLst>
        </pc:spChg>
        <pc:spChg chg="add del mod">
          <ac:chgData name="Wasan Alkaltham" userId="66892628e8126b54" providerId="LiveId" clId="{EC468F96-23D0-441E-99D9-F383B9EB1F8F}" dt="2025-02-16T09:58:38.265" v="2454"/>
          <ac:spMkLst>
            <pc:docMk/>
            <pc:sldMk cId="3836504569" sldId="2145709118"/>
            <ac:spMk id="9" creationId="{6C5FA65A-0176-C9BB-7E0B-BA5B0EF6B2B8}"/>
          </ac:spMkLst>
        </pc:spChg>
        <pc:spChg chg="add del mod">
          <ac:chgData name="Wasan Alkaltham" userId="66892628e8126b54" providerId="LiveId" clId="{EC468F96-23D0-441E-99D9-F383B9EB1F8F}" dt="2025-02-16T09:58:38.265" v="2454"/>
          <ac:spMkLst>
            <pc:docMk/>
            <pc:sldMk cId="3836504569" sldId="2145709118"/>
            <ac:spMk id="11" creationId="{A6162D94-06C0-A38D-BA4A-066B8B7DDC8A}"/>
          </ac:spMkLst>
        </pc:spChg>
        <pc:spChg chg="add del mod">
          <ac:chgData name="Wasan Alkaltham" userId="66892628e8126b54" providerId="LiveId" clId="{EC468F96-23D0-441E-99D9-F383B9EB1F8F}" dt="2025-02-16T10:41:48.410" v="3110" actId="478"/>
          <ac:spMkLst>
            <pc:docMk/>
            <pc:sldMk cId="3836504569" sldId="2145709118"/>
            <ac:spMk id="12" creationId="{4EEFD01F-3D9B-B991-E64D-A3D17E88EA76}"/>
          </ac:spMkLst>
        </pc:spChg>
        <pc:spChg chg="add del mod">
          <ac:chgData name="Wasan Alkaltham" userId="66892628e8126b54" providerId="LiveId" clId="{EC468F96-23D0-441E-99D9-F383B9EB1F8F}" dt="2025-02-16T09:59:01.118" v="2461" actId="478"/>
          <ac:spMkLst>
            <pc:docMk/>
            <pc:sldMk cId="3836504569" sldId="2145709118"/>
            <ac:spMk id="13" creationId="{3ECB058C-5CF2-53D4-F700-15E0395BFCD5}"/>
          </ac:spMkLst>
        </pc:spChg>
        <pc:spChg chg="add del mod">
          <ac:chgData name="Wasan Alkaltham" userId="66892628e8126b54" providerId="LiveId" clId="{EC468F96-23D0-441E-99D9-F383B9EB1F8F}" dt="2025-02-16T09:58:32.814" v="2453"/>
          <ac:spMkLst>
            <pc:docMk/>
            <pc:sldMk cId="3836504569" sldId="2145709118"/>
            <ac:spMk id="14" creationId="{17D5BE70-C7F9-23FF-A2C7-BEF0F8F06BDA}"/>
          </ac:spMkLst>
        </pc:spChg>
        <pc:spChg chg="add del mod">
          <ac:chgData name="Wasan Alkaltham" userId="66892628e8126b54" providerId="LiveId" clId="{EC468F96-23D0-441E-99D9-F383B9EB1F8F}" dt="2025-02-16T09:58:32.814" v="2453"/>
          <ac:spMkLst>
            <pc:docMk/>
            <pc:sldMk cId="3836504569" sldId="2145709118"/>
            <ac:spMk id="15" creationId="{A96EEF54-3AAA-2ADA-363C-A5725182ABD3}"/>
          </ac:spMkLst>
        </pc:spChg>
        <pc:spChg chg="del mod">
          <ac:chgData name="Wasan Alkaltham" userId="66892628e8126b54" providerId="LiveId" clId="{EC468F96-23D0-441E-99D9-F383B9EB1F8F}" dt="2025-02-16T09:58:38.265" v="2454"/>
          <ac:spMkLst>
            <pc:docMk/>
            <pc:sldMk cId="3836504569" sldId="2145709118"/>
            <ac:spMk id="16" creationId="{F28882D3-3EAF-2772-A11E-F5FE22C2F3E5}"/>
          </ac:spMkLst>
        </pc:spChg>
        <pc:spChg chg="mod">
          <ac:chgData name="Wasan Alkaltham" userId="66892628e8126b54" providerId="LiveId" clId="{EC468F96-23D0-441E-99D9-F383B9EB1F8F}" dt="2025-02-16T09:58:38.265" v="2454"/>
          <ac:spMkLst>
            <pc:docMk/>
            <pc:sldMk cId="3836504569" sldId="2145709118"/>
            <ac:spMk id="17" creationId="{408B1FE2-923D-748B-E763-2F995F785C2B}"/>
          </ac:spMkLst>
        </pc:spChg>
        <pc:spChg chg="add mod">
          <ac:chgData name="Wasan Alkaltham" userId="66892628e8126b54" providerId="LiveId" clId="{EC468F96-23D0-441E-99D9-F383B9EB1F8F}" dt="2025-02-16T09:58:52.910" v="2458" actId="1076"/>
          <ac:spMkLst>
            <pc:docMk/>
            <pc:sldMk cId="3836504569" sldId="2145709118"/>
            <ac:spMk id="18" creationId="{6A65E163-6358-F69C-7018-EF4FDF27502F}"/>
          </ac:spMkLst>
        </pc:spChg>
        <pc:spChg chg="add mod">
          <ac:chgData name="Wasan Alkaltham" userId="66892628e8126b54" providerId="LiveId" clId="{EC468F96-23D0-441E-99D9-F383B9EB1F8F}" dt="2025-02-16T09:58:52.910" v="2458" actId="1076"/>
          <ac:spMkLst>
            <pc:docMk/>
            <pc:sldMk cId="3836504569" sldId="2145709118"/>
            <ac:spMk id="19" creationId="{5A045C46-4A65-4B6E-072A-0A197E6D8982}"/>
          </ac:spMkLst>
        </pc:spChg>
        <pc:spChg chg="add mod">
          <ac:chgData name="Wasan Alkaltham" userId="66892628e8126b54" providerId="LiveId" clId="{EC468F96-23D0-441E-99D9-F383B9EB1F8F}" dt="2025-02-16T09:58:52.910" v="2458" actId="1076"/>
          <ac:spMkLst>
            <pc:docMk/>
            <pc:sldMk cId="3836504569" sldId="2145709118"/>
            <ac:spMk id="20" creationId="{C20F8183-B603-C84E-99DC-EFD3F867AE1D}"/>
          </ac:spMkLst>
        </pc:spChg>
        <pc:spChg chg="add mod">
          <ac:chgData name="Wasan Alkaltham" userId="66892628e8126b54" providerId="LiveId" clId="{EC468F96-23D0-441E-99D9-F383B9EB1F8F}" dt="2025-02-16T09:58:52.910" v="2458" actId="1076"/>
          <ac:spMkLst>
            <pc:docMk/>
            <pc:sldMk cId="3836504569" sldId="2145709118"/>
            <ac:spMk id="21" creationId="{949209FE-0825-00EC-9D66-236C3AED2F44}"/>
          </ac:spMkLst>
        </pc:spChg>
        <pc:spChg chg="add mod">
          <ac:chgData name="Wasan Alkaltham" userId="66892628e8126b54" providerId="LiveId" clId="{EC468F96-23D0-441E-99D9-F383B9EB1F8F}" dt="2025-02-16T09:58:52.910" v="2458" actId="1076"/>
          <ac:spMkLst>
            <pc:docMk/>
            <pc:sldMk cId="3836504569" sldId="2145709118"/>
            <ac:spMk id="22" creationId="{83D33BFF-F1DF-E252-AF9F-602BFAAF5451}"/>
          </ac:spMkLst>
        </pc:spChg>
        <pc:spChg chg="add mod">
          <ac:chgData name="Wasan Alkaltham" userId="66892628e8126b54" providerId="LiveId" clId="{EC468F96-23D0-441E-99D9-F383B9EB1F8F}" dt="2025-02-16T09:58:52.910" v="2458" actId="1076"/>
          <ac:spMkLst>
            <pc:docMk/>
            <pc:sldMk cId="3836504569" sldId="2145709118"/>
            <ac:spMk id="23" creationId="{F6266321-F9F4-4458-1662-5153032F8CEA}"/>
          </ac:spMkLst>
        </pc:spChg>
        <pc:spChg chg="add del mod">
          <ac:chgData name="Wasan Alkaltham" userId="66892628e8126b54" providerId="LiveId" clId="{EC468F96-23D0-441E-99D9-F383B9EB1F8F}" dt="2025-02-16T09:58:46.132" v="2456" actId="478"/>
          <ac:spMkLst>
            <pc:docMk/>
            <pc:sldMk cId="3836504569" sldId="2145709118"/>
            <ac:spMk id="25" creationId="{60D2599B-7D57-3FCC-2390-613453E81659}"/>
          </ac:spMkLst>
        </pc:spChg>
        <pc:spChg chg="add del mod">
          <ac:chgData name="Wasan Alkaltham" userId="66892628e8126b54" providerId="LiveId" clId="{EC468F96-23D0-441E-99D9-F383B9EB1F8F}" dt="2025-02-16T09:58:46.132" v="2456" actId="478"/>
          <ac:spMkLst>
            <pc:docMk/>
            <pc:sldMk cId="3836504569" sldId="2145709118"/>
            <ac:spMk id="26" creationId="{31580280-779C-2F7F-ECAF-F6EC843ED69E}"/>
          </ac:spMkLst>
        </pc:spChg>
        <pc:spChg chg="add del mod">
          <ac:chgData name="Wasan Alkaltham" userId="66892628e8126b54" providerId="LiveId" clId="{EC468F96-23D0-441E-99D9-F383B9EB1F8F}" dt="2025-02-16T09:58:46.132" v="2456" actId="478"/>
          <ac:spMkLst>
            <pc:docMk/>
            <pc:sldMk cId="3836504569" sldId="2145709118"/>
            <ac:spMk id="27" creationId="{742077A9-01E8-84F0-5C2C-2ECA6826537A}"/>
          </ac:spMkLst>
        </pc:spChg>
        <pc:spChg chg="add del mod">
          <ac:chgData name="Wasan Alkaltham" userId="66892628e8126b54" providerId="LiveId" clId="{EC468F96-23D0-441E-99D9-F383B9EB1F8F}" dt="2025-02-16T09:58:46.132" v="2456" actId="478"/>
          <ac:spMkLst>
            <pc:docMk/>
            <pc:sldMk cId="3836504569" sldId="2145709118"/>
            <ac:spMk id="28" creationId="{774AEBDC-D7E5-8EB9-23A5-9622C0141487}"/>
          </ac:spMkLst>
        </pc:spChg>
        <pc:spChg chg="add del mod">
          <ac:chgData name="Wasan Alkaltham" userId="66892628e8126b54" providerId="LiveId" clId="{EC468F96-23D0-441E-99D9-F383B9EB1F8F}" dt="2025-02-16T09:58:46.132" v="2456" actId="478"/>
          <ac:spMkLst>
            <pc:docMk/>
            <pc:sldMk cId="3836504569" sldId="2145709118"/>
            <ac:spMk id="29" creationId="{A588E3C6-9611-3082-B1AF-475B45EA527D}"/>
          </ac:spMkLst>
        </pc:spChg>
        <pc:spChg chg="add del mod">
          <ac:chgData name="Wasan Alkaltham" userId="66892628e8126b54" providerId="LiveId" clId="{EC468F96-23D0-441E-99D9-F383B9EB1F8F}" dt="2025-02-16T09:58:46.132" v="2456" actId="478"/>
          <ac:spMkLst>
            <pc:docMk/>
            <pc:sldMk cId="3836504569" sldId="2145709118"/>
            <ac:spMk id="30" creationId="{DB9328F7-7DE4-9069-C337-67F6E8C4918F}"/>
          </ac:spMkLst>
        </pc:spChg>
        <pc:spChg chg="add del mod">
          <ac:chgData name="Wasan Alkaltham" userId="66892628e8126b54" providerId="LiveId" clId="{EC468F96-23D0-441E-99D9-F383B9EB1F8F}" dt="2025-02-16T10:41:52.584" v="3112" actId="478"/>
          <ac:spMkLst>
            <pc:docMk/>
            <pc:sldMk cId="3836504569" sldId="2145709118"/>
            <ac:spMk id="31" creationId="{704D0B7A-8FE7-7EF3-E528-B5848E9FC901}"/>
          </ac:spMkLst>
        </pc:spChg>
        <pc:spChg chg="del mod">
          <ac:chgData name="Wasan Alkaltham" userId="66892628e8126b54" providerId="LiveId" clId="{EC468F96-23D0-441E-99D9-F383B9EB1F8F}" dt="2025-02-16T09:57:00.742" v="2426" actId="478"/>
          <ac:spMkLst>
            <pc:docMk/>
            <pc:sldMk cId="3836504569" sldId="2145709118"/>
            <ac:spMk id="33" creationId="{852D04C3-94FD-7063-37FF-FF866F2AE246}"/>
          </ac:spMkLst>
        </pc:spChg>
        <pc:spChg chg="add del mod">
          <ac:chgData name="Wasan Alkaltham" userId="66892628e8126b54" providerId="LiveId" clId="{EC468F96-23D0-441E-99D9-F383B9EB1F8F}" dt="2025-02-16T09:57:03.042" v="2427" actId="478"/>
          <ac:spMkLst>
            <pc:docMk/>
            <pc:sldMk cId="3836504569" sldId="2145709118"/>
            <ac:spMk id="34" creationId="{96EBA59F-0C56-2D70-22DA-687C21E95D07}"/>
          </ac:spMkLst>
        </pc:spChg>
        <pc:picChg chg="mod ord">
          <ac:chgData name="Wasan Alkaltham" userId="66892628e8126b54" providerId="LiveId" clId="{EC468F96-23D0-441E-99D9-F383B9EB1F8F}" dt="2025-02-16T09:51:53.835" v="2424" actId="166"/>
          <ac:picMkLst>
            <pc:docMk/>
            <pc:sldMk cId="3836504569" sldId="2145709118"/>
            <ac:picMk id="10" creationId="{76984505-9C1A-01F4-CF90-29E6D590A0D4}"/>
          </ac:picMkLst>
        </pc:picChg>
      </pc:sldChg>
      <pc:sldChg chg="addSp delSp modSp mod">
        <pc:chgData name="Wasan Alkaltham" userId="66892628e8126b54" providerId="LiveId" clId="{EC468F96-23D0-441E-99D9-F383B9EB1F8F}" dt="2025-02-17T08:19:00.029" v="3280"/>
        <pc:sldMkLst>
          <pc:docMk/>
          <pc:sldMk cId="1910391882" sldId="2145709120"/>
        </pc:sldMkLst>
        <pc:spChg chg="add del mod">
          <ac:chgData name="Wasan Alkaltham" userId="66892628e8126b54" providerId="LiveId" clId="{EC468F96-23D0-441E-99D9-F383B9EB1F8F}" dt="2025-02-16T10:39:16.087" v="3109" actId="478"/>
          <ac:spMkLst>
            <pc:docMk/>
            <pc:sldMk cId="1910391882" sldId="2145709120"/>
            <ac:spMk id="4" creationId="{602B89A9-E480-7C4C-2DFD-B2F1465CB05B}"/>
          </ac:spMkLst>
        </pc:spChg>
        <pc:spChg chg="add mod">
          <ac:chgData name="Wasan Alkaltham" userId="66892628e8126b54" providerId="LiveId" clId="{EC468F96-23D0-441E-99D9-F383B9EB1F8F}" dt="2025-02-17T08:19:00.029" v="3280"/>
          <ac:spMkLst>
            <pc:docMk/>
            <pc:sldMk cId="1910391882" sldId="2145709120"/>
            <ac:spMk id="6" creationId="{48877D57-9449-DC9F-A938-A355A18F2D43}"/>
          </ac:spMkLst>
        </pc:spChg>
        <pc:spChg chg="del">
          <ac:chgData name="Wasan Alkaltham" userId="66892628e8126b54" providerId="LiveId" clId="{EC468F96-23D0-441E-99D9-F383B9EB1F8F}" dt="2025-02-16T10:31:35.490" v="2829" actId="478"/>
          <ac:spMkLst>
            <pc:docMk/>
            <pc:sldMk cId="1910391882" sldId="2145709120"/>
            <ac:spMk id="7" creationId="{CA48AB24-B123-75B4-0811-55F35D9176FD}"/>
          </ac:spMkLst>
        </pc:spChg>
        <pc:spChg chg="mod">
          <ac:chgData name="Wasan Alkaltham" userId="66892628e8126b54" providerId="LiveId" clId="{EC468F96-23D0-441E-99D9-F383B9EB1F8F}" dt="2025-02-16T10:31:31.605" v="2828" actId="20577"/>
          <ac:spMkLst>
            <pc:docMk/>
            <pc:sldMk cId="1910391882" sldId="2145709120"/>
            <ac:spMk id="8" creationId="{94FB396E-8411-5B36-0ABC-C5C45A8F6575}"/>
          </ac:spMkLst>
        </pc:spChg>
        <pc:spChg chg="mod">
          <ac:chgData name="Wasan Alkaltham" userId="66892628e8126b54" providerId="LiveId" clId="{EC468F96-23D0-441E-99D9-F383B9EB1F8F}" dt="2025-02-13T08:05:40.066" v="427"/>
          <ac:spMkLst>
            <pc:docMk/>
            <pc:sldMk cId="1910391882" sldId="2145709120"/>
            <ac:spMk id="13" creationId="{57962B40-F80C-451D-0928-21AD38AE3E72}"/>
          </ac:spMkLst>
        </pc:spChg>
        <pc:spChg chg="add mod">
          <ac:chgData name="Wasan Alkaltham" userId="66892628e8126b54" providerId="LiveId" clId="{EC468F96-23D0-441E-99D9-F383B9EB1F8F}" dt="2025-02-13T08:05:54.085" v="429" actId="1076"/>
          <ac:spMkLst>
            <pc:docMk/>
            <pc:sldMk cId="1910391882" sldId="2145709120"/>
            <ac:spMk id="14" creationId="{8B60D4FE-B1B6-5B3D-580F-45FE14946FE8}"/>
          </ac:spMkLst>
        </pc:spChg>
        <pc:spChg chg="add mod">
          <ac:chgData name="Wasan Alkaltham" userId="66892628e8126b54" providerId="LiveId" clId="{EC468F96-23D0-441E-99D9-F383B9EB1F8F}" dt="2025-02-13T08:06:16.778" v="438" actId="20577"/>
          <ac:spMkLst>
            <pc:docMk/>
            <pc:sldMk cId="1910391882" sldId="2145709120"/>
            <ac:spMk id="15" creationId="{FC359B5C-9DD2-73C0-4AD5-B6492054759B}"/>
          </ac:spMkLst>
        </pc:spChg>
        <pc:spChg chg="add mod">
          <ac:chgData name="Wasan Alkaltham" userId="66892628e8126b54" providerId="LiveId" clId="{EC468F96-23D0-441E-99D9-F383B9EB1F8F}" dt="2025-02-13T08:06:18.567" v="439" actId="20577"/>
          <ac:spMkLst>
            <pc:docMk/>
            <pc:sldMk cId="1910391882" sldId="2145709120"/>
            <ac:spMk id="16" creationId="{8EE981B7-366B-B136-F166-D0FBE751AA28}"/>
          </ac:spMkLst>
        </pc:spChg>
        <pc:spChg chg="add mod">
          <ac:chgData name="Wasan Alkaltham" userId="66892628e8126b54" providerId="LiveId" clId="{EC468F96-23D0-441E-99D9-F383B9EB1F8F}" dt="2025-02-13T08:06:21.674" v="440" actId="20577"/>
          <ac:spMkLst>
            <pc:docMk/>
            <pc:sldMk cId="1910391882" sldId="2145709120"/>
            <ac:spMk id="17" creationId="{CE655523-F918-5BFC-22DD-F38BB76BCFE8}"/>
          </ac:spMkLst>
        </pc:spChg>
        <pc:spChg chg="add mod">
          <ac:chgData name="Wasan Alkaltham" userId="66892628e8126b54" providerId="LiveId" clId="{EC468F96-23D0-441E-99D9-F383B9EB1F8F}" dt="2025-02-13T08:06:24.437" v="441" actId="20577"/>
          <ac:spMkLst>
            <pc:docMk/>
            <pc:sldMk cId="1910391882" sldId="2145709120"/>
            <ac:spMk id="18" creationId="{BED9C540-AC0D-99E2-2985-C4CAB3FDD7AD}"/>
          </ac:spMkLst>
        </pc:spChg>
      </pc:sldChg>
      <pc:sldChg chg="addSp delSp modSp mod">
        <pc:chgData name="Wasan Alkaltham" userId="66892628e8126b54" providerId="LiveId" clId="{EC468F96-23D0-441E-99D9-F383B9EB1F8F}" dt="2025-02-17T08:18:55.421" v="3279"/>
        <pc:sldMkLst>
          <pc:docMk/>
          <pc:sldMk cId="2365354817" sldId="2145709121"/>
        </pc:sldMkLst>
        <pc:spChg chg="add del mod">
          <ac:chgData name="Wasan Alkaltham" userId="66892628e8126b54" providerId="LiveId" clId="{EC468F96-23D0-441E-99D9-F383B9EB1F8F}" dt="2025-02-16T10:32:04.926" v="2868" actId="478"/>
          <ac:spMkLst>
            <pc:docMk/>
            <pc:sldMk cId="2365354817" sldId="2145709121"/>
            <ac:spMk id="4" creationId="{061CCEFD-6023-0125-148B-F8B6855773EE}"/>
          </ac:spMkLst>
        </pc:spChg>
        <pc:spChg chg="add mod">
          <ac:chgData name="Wasan Alkaltham" userId="66892628e8126b54" providerId="LiveId" clId="{EC468F96-23D0-441E-99D9-F383B9EB1F8F}" dt="2025-02-17T08:18:55.421" v="3279"/>
          <ac:spMkLst>
            <pc:docMk/>
            <pc:sldMk cId="2365354817" sldId="2145709121"/>
            <ac:spMk id="6" creationId="{B719BDD2-50CB-37AC-7404-AD4C3225FBF1}"/>
          </ac:spMkLst>
        </pc:spChg>
        <pc:spChg chg="del">
          <ac:chgData name="Wasan Alkaltham" userId="66892628e8126b54" providerId="LiveId" clId="{EC468F96-23D0-441E-99D9-F383B9EB1F8F}" dt="2025-02-16T10:32:01.711" v="2867" actId="478"/>
          <ac:spMkLst>
            <pc:docMk/>
            <pc:sldMk cId="2365354817" sldId="2145709121"/>
            <ac:spMk id="7" creationId="{3976B2B2-E1DD-1234-D650-1E70E6AFFA7F}"/>
          </ac:spMkLst>
        </pc:spChg>
        <pc:spChg chg="mod">
          <ac:chgData name="Wasan Alkaltham" userId="66892628e8126b54" providerId="LiveId" clId="{EC468F96-23D0-441E-99D9-F383B9EB1F8F}" dt="2025-02-16T10:31:56.138" v="2866" actId="20577"/>
          <ac:spMkLst>
            <pc:docMk/>
            <pc:sldMk cId="2365354817" sldId="2145709121"/>
            <ac:spMk id="8" creationId="{64E61AC0-5325-0C06-0A6D-9CF52AA46657}"/>
          </ac:spMkLst>
        </pc:spChg>
        <pc:spChg chg="mod">
          <ac:chgData name="Wasan Alkaltham" userId="66892628e8126b54" providerId="LiveId" clId="{EC468F96-23D0-441E-99D9-F383B9EB1F8F}" dt="2025-02-13T08:09:31.513" v="462"/>
          <ac:spMkLst>
            <pc:docMk/>
            <pc:sldMk cId="2365354817" sldId="2145709121"/>
            <ac:spMk id="11" creationId="{6D282C24-01DC-EA6E-EAEE-03073BD66C45}"/>
          </ac:spMkLst>
        </pc:spChg>
        <pc:spChg chg="add mod">
          <ac:chgData name="Wasan Alkaltham" userId="66892628e8126b54" providerId="LiveId" clId="{EC468F96-23D0-441E-99D9-F383B9EB1F8F}" dt="2025-02-13T08:09:44.309" v="464" actId="1076"/>
          <ac:spMkLst>
            <pc:docMk/>
            <pc:sldMk cId="2365354817" sldId="2145709121"/>
            <ac:spMk id="12" creationId="{D3B5B865-32F0-8A1D-72B6-21D0ADDB1165}"/>
          </ac:spMkLst>
        </pc:spChg>
        <pc:spChg chg="add mod">
          <ac:chgData name="Wasan Alkaltham" userId="66892628e8126b54" providerId="LiveId" clId="{EC468F96-23D0-441E-99D9-F383B9EB1F8F}" dt="2025-02-13T08:09:52.887" v="467" actId="20577"/>
          <ac:spMkLst>
            <pc:docMk/>
            <pc:sldMk cId="2365354817" sldId="2145709121"/>
            <ac:spMk id="13" creationId="{A63A8AFE-F1A5-6926-EB40-71CAEF2B6EA1}"/>
          </ac:spMkLst>
        </pc:spChg>
        <pc:spChg chg="add mod">
          <ac:chgData name="Wasan Alkaltham" userId="66892628e8126b54" providerId="LiveId" clId="{EC468F96-23D0-441E-99D9-F383B9EB1F8F}" dt="2025-02-13T08:10:04.017" v="470" actId="20577"/>
          <ac:spMkLst>
            <pc:docMk/>
            <pc:sldMk cId="2365354817" sldId="2145709121"/>
            <ac:spMk id="15" creationId="{D4C324C1-3EAA-A480-46DE-E0C2995A2231}"/>
          </ac:spMkLst>
        </pc:spChg>
        <pc:spChg chg="add mod">
          <ac:chgData name="Wasan Alkaltham" userId="66892628e8126b54" providerId="LiveId" clId="{EC468F96-23D0-441E-99D9-F383B9EB1F8F}" dt="2025-02-13T08:10:18.515" v="474" actId="1076"/>
          <ac:spMkLst>
            <pc:docMk/>
            <pc:sldMk cId="2365354817" sldId="2145709121"/>
            <ac:spMk id="16" creationId="{9CC11F5A-2A9A-F260-B642-33719D416FFC}"/>
          </ac:spMkLst>
        </pc:spChg>
        <pc:picChg chg="mod">
          <ac:chgData name="Wasan Alkaltham" userId="66892628e8126b54" providerId="LiveId" clId="{EC468F96-23D0-441E-99D9-F383B9EB1F8F}" dt="2025-02-16T09:59:35.268" v="2467" actId="1036"/>
          <ac:picMkLst>
            <pc:docMk/>
            <pc:sldMk cId="2365354817" sldId="2145709121"/>
            <ac:picMk id="14" creationId="{D01DA07E-AC8C-6A45-9671-90A3D95A4F23}"/>
          </ac:picMkLst>
        </pc:picChg>
      </pc:sldChg>
      <pc:sldChg chg="addSp delSp modSp add del mod">
        <pc:chgData name="Wasan Alkaltham" userId="66892628e8126b54" providerId="LiveId" clId="{EC468F96-23D0-441E-99D9-F383B9EB1F8F}" dt="2025-02-16T07:26:41.659" v="2399" actId="47"/>
        <pc:sldMkLst>
          <pc:docMk/>
          <pc:sldMk cId="3282245847" sldId="2145709122"/>
        </pc:sldMkLst>
      </pc:sldChg>
      <pc:sldChg chg="addSp delSp modSp add del mod">
        <pc:chgData name="Wasan Alkaltham" userId="66892628e8126b54" providerId="LiveId" clId="{EC468F96-23D0-441E-99D9-F383B9EB1F8F}" dt="2025-02-16T07:26:43.177" v="2400" actId="47"/>
        <pc:sldMkLst>
          <pc:docMk/>
          <pc:sldMk cId="677815993" sldId="2145709123"/>
        </pc:sldMkLst>
      </pc:sldChg>
      <pc:sldChg chg="addSp delSp modSp add del mod">
        <pc:chgData name="Wasan Alkaltham" userId="66892628e8126b54" providerId="LiveId" clId="{EC468F96-23D0-441E-99D9-F383B9EB1F8F}" dt="2025-02-16T07:26:46.842" v="2405" actId="47"/>
        <pc:sldMkLst>
          <pc:docMk/>
          <pc:sldMk cId="840724726" sldId="2145709124"/>
        </pc:sldMkLst>
      </pc:sldChg>
      <pc:sldChg chg="addSp delSp modSp add del mod">
        <pc:chgData name="Wasan Alkaltham" userId="66892628e8126b54" providerId="LiveId" clId="{EC468F96-23D0-441E-99D9-F383B9EB1F8F}" dt="2025-02-16T07:26:47.250" v="2406" actId="47"/>
        <pc:sldMkLst>
          <pc:docMk/>
          <pc:sldMk cId="753134561" sldId="2145709125"/>
        </pc:sldMkLst>
        <pc:spChg chg="add del mod">
          <ac:chgData name="Wasan Alkaltham" userId="66892628e8126b54" providerId="LiveId" clId="{EC468F96-23D0-441E-99D9-F383B9EB1F8F}" dt="2025-02-16T06:27:19.031" v="1759"/>
          <ac:spMkLst>
            <pc:docMk/>
            <pc:sldMk cId="753134561" sldId="2145709125"/>
            <ac:spMk id="2" creationId="{F96AF0B5-9783-9ECF-11B2-D53CF1118199}"/>
          </ac:spMkLst>
        </pc:spChg>
        <pc:spChg chg="add mod">
          <ac:chgData name="Wasan Alkaltham" userId="66892628e8126b54" providerId="LiveId" clId="{EC468F96-23D0-441E-99D9-F383B9EB1F8F}" dt="2025-02-16T06:24:28.049" v="1699" actId="1076"/>
          <ac:spMkLst>
            <pc:docMk/>
            <pc:sldMk cId="753134561" sldId="2145709125"/>
            <ac:spMk id="6" creationId="{9F62902E-3A19-9634-5EA9-9C7918E7BAB7}"/>
          </ac:spMkLst>
        </pc:spChg>
        <pc:spChg chg="add del mod">
          <ac:chgData name="Wasan Alkaltham" userId="66892628e8126b54" providerId="LiveId" clId="{EC468F96-23D0-441E-99D9-F383B9EB1F8F}" dt="2025-02-16T06:27:19.031" v="1759"/>
          <ac:spMkLst>
            <pc:docMk/>
            <pc:sldMk cId="753134561" sldId="2145709125"/>
            <ac:spMk id="9" creationId="{903036DB-C42C-A3E1-4485-6578EBFFD5C4}"/>
          </ac:spMkLst>
        </pc:spChg>
        <pc:spChg chg="add del mod">
          <ac:chgData name="Wasan Alkaltham" userId="66892628e8126b54" providerId="LiveId" clId="{EC468F96-23D0-441E-99D9-F383B9EB1F8F}" dt="2025-02-16T06:27:19.031" v="1759"/>
          <ac:spMkLst>
            <pc:docMk/>
            <pc:sldMk cId="753134561" sldId="2145709125"/>
            <ac:spMk id="10" creationId="{AC1CBD74-7EFA-59D5-D2F1-391ADA96F73C}"/>
          </ac:spMkLst>
        </pc:spChg>
        <pc:spChg chg="add del mod">
          <ac:chgData name="Wasan Alkaltham" userId="66892628e8126b54" providerId="LiveId" clId="{EC468F96-23D0-441E-99D9-F383B9EB1F8F}" dt="2025-02-16T06:27:19.031" v="1759"/>
          <ac:spMkLst>
            <pc:docMk/>
            <pc:sldMk cId="753134561" sldId="2145709125"/>
            <ac:spMk id="11" creationId="{5B10C319-20C0-8296-CE31-746D3B40F86B}"/>
          </ac:spMkLst>
        </pc:spChg>
        <pc:spChg chg="add del mod">
          <ac:chgData name="Wasan Alkaltham" userId="66892628e8126b54" providerId="LiveId" clId="{EC468F96-23D0-441E-99D9-F383B9EB1F8F}" dt="2025-02-16T06:27:19.031" v="1759"/>
          <ac:spMkLst>
            <pc:docMk/>
            <pc:sldMk cId="753134561" sldId="2145709125"/>
            <ac:spMk id="13" creationId="{84439E8B-A695-7867-BF78-A0E9D2173835}"/>
          </ac:spMkLst>
        </pc:spChg>
        <pc:spChg chg="add mod">
          <ac:chgData name="Wasan Alkaltham" userId="66892628e8126b54" providerId="LiveId" clId="{EC468F96-23D0-441E-99D9-F383B9EB1F8F}" dt="2025-02-16T06:25:23.398" v="1725" actId="1035"/>
          <ac:spMkLst>
            <pc:docMk/>
            <pc:sldMk cId="753134561" sldId="2145709125"/>
            <ac:spMk id="14" creationId="{ADDAA5BA-7C53-FF9B-55C9-EFBB23E39F63}"/>
          </ac:spMkLst>
        </pc:spChg>
        <pc:spChg chg="add mod">
          <ac:chgData name="Wasan Alkaltham" userId="66892628e8126b54" providerId="LiveId" clId="{EC468F96-23D0-441E-99D9-F383B9EB1F8F}" dt="2025-02-16T06:25:34.748" v="1730" actId="1035"/>
          <ac:spMkLst>
            <pc:docMk/>
            <pc:sldMk cId="753134561" sldId="2145709125"/>
            <ac:spMk id="15" creationId="{B195C444-392C-23BB-BD8C-D46927BBE55C}"/>
          </ac:spMkLst>
        </pc:spChg>
        <pc:spChg chg="add del mod">
          <ac:chgData name="Wasan Alkaltham" userId="66892628e8126b54" providerId="LiveId" clId="{EC468F96-23D0-441E-99D9-F383B9EB1F8F}" dt="2025-02-16T06:27:19.031" v="1759"/>
          <ac:spMkLst>
            <pc:docMk/>
            <pc:sldMk cId="753134561" sldId="2145709125"/>
            <ac:spMk id="16" creationId="{569FD8D9-B719-F9D3-0660-02C4A5FA5E24}"/>
          </ac:spMkLst>
        </pc:spChg>
        <pc:spChg chg="add del mod">
          <ac:chgData name="Wasan Alkaltham" userId="66892628e8126b54" providerId="LiveId" clId="{EC468F96-23D0-441E-99D9-F383B9EB1F8F}" dt="2025-02-16T06:27:19.031" v="1759"/>
          <ac:spMkLst>
            <pc:docMk/>
            <pc:sldMk cId="753134561" sldId="2145709125"/>
            <ac:spMk id="17" creationId="{3CD62FDA-6FE7-57CC-112C-0D48B3B71855}"/>
          </ac:spMkLst>
        </pc:spChg>
        <pc:spChg chg="add del mod">
          <ac:chgData name="Wasan Alkaltham" userId="66892628e8126b54" providerId="LiveId" clId="{EC468F96-23D0-441E-99D9-F383B9EB1F8F}" dt="2025-02-16T06:27:19.031" v="1759"/>
          <ac:spMkLst>
            <pc:docMk/>
            <pc:sldMk cId="753134561" sldId="2145709125"/>
            <ac:spMk id="18" creationId="{A3D4740C-C2BD-EFE3-B50D-5C5996FD5CF5}"/>
          </ac:spMkLst>
        </pc:spChg>
        <pc:spChg chg="add del mod">
          <ac:chgData name="Wasan Alkaltham" userId="66892628e8126b54" providerId="LiveId" clId="{EC468F96-23D0-441E-99D9-F383B9EB1F8F}" dt="2025-02-16T06:27:19.031" v="1759"/>
          <ac:spMkLst>
            <pc:docMk/>
            <pc:sldMk cId="753134561" sldId="2145709125"/>
            <ac:spMk id="19" creationId="{0CBA4E82-F0A2-5A91-230A-17B239EFBBB0}"/>
          </ac:spMkLst>
        </pc:spChg>
        <pc:spChg chg="mod">
          <ac:chgData name="Wasan Alkaltham" userId="66892628e8126b54" providerId="LiveId" clId="{EC468F96-23D0-441E-99D9-F383B9EB1F8F}" dt="2025-02-16T06:27:19.031" v="1759"/>
          <ac:spMkLst>
            <pc:docMk/>
            <pc:sldMk cId="753134561" sldId="2145709125"/>
            <ac:spMk id="20" creationId="{BEF0C7AD-34BC-87F6-E549-ACF87BC85326}"/>
          </ac:spMkLst>
        </pc:spChg>
        <pc:spChg chg="add del mod">
          <ac:chgData name="Wasan Alkaltham" userId="66892628e8126b54" providerId="LiveId" clId="{EC468F96-23D0-441E-99D9-F383B9EB1F8F}" dt="2025-02-16T06:27:57.541" v="1769" actId="478"/>
          <ac:spMkLst>
            <pc:docMk/>
            <pc:sldMk cId="753134561" sldId="2145709125"/>
            <ac:spMk id="21" creationId="{9230D302-FAE6-43DE-7E2D-F164400D0204}"/>
          </ac:spMkLst>
        </pc:spChg>
        <pc:spChg chg="add del mod">
          <ac:chgData name="Wasan Alkaltham" userId="66892628e8126b54" providerId="LiveId" clId="{EC468F96-23D0-441E-99D9-F383B9EB1F8F}" dt="2025-02-16T06:27:55.625" v="1768" actId="478"/>
          <ac:spMkLst>
            <pc:docMk/>
            <pc:sldMk cId="753134561" sldId="2145709125"/>
            <ac:spMk id="22" creationId="{1B0CE22E-8524-0692-27B3-9BBA5A3F1026}"/>
          </ac:spMkLst>
        </pc:spChg>
        <pc:spChg chg="add mod">
          <ac:chgData name="Wasan Alkaltham" userId="66892628e8126b54" providerId="LiveId" clId="{EC468F96-23D0-441E-99D9-F383B9EB1F8F}" dt="2025-02-16T06:28:12.258" v="1770" actId="1076"/>
          <ac:spMkLst>
            <pc:docMk/>
            <pc:sldMk cId="753134561" sldId="2145709125"/>
            <ac:spMk id="24" creationId="{34BB7650-CE78-DB7F-0D18-151B2BBE6407}"/>
          </ac:spMkLst>
        </pc:spChg>
      </pc:sldChg>
      <pc:sldChg chg="addSp delSp modSp add del mod">
        <pc:chgData name="Wasan Alkaltham" userId="66892628e8126b54" providerId="LiveId" clId="{EC468F96-23D0-441E-99D9-F383B9EB1F8F}" dt="2025-02-16T07:26:47.565" v="2407" actId="47"/>
        <pc:sldMkLst>
          <pc:docMk/>
          <pc:sldMk cId="1977816615" sldId="2145709126"/>
        </pc:sldMkLst>
        <pc:spChg chg="add del mod">
          <ac:chgData name="Wasan Alkaltham" userId="66892628e8126b54" providerId="LiveId" clId="{EC468F96-23D0-441E-99D9-F383B9EB1F8F}" dt="2025-02-16T06:30:22.982" v="1825"/>
          <ac:spMkLst>
            <pc:docMk/>
            <pc:sldMk cId="1977816615" sldId="2145709126"/>
            <ac:spMk id="2" creationId="{B8D99E58-16F2-AA0C-68EA-A3037C340C1E}"/>
          </ac:spMkLst>
        </pc:spChg>
        <pc:spChg chg="add del mod">
          <ac:chgData name="Wasan Alkaltham" userId="66892628e8126b54" providerId="LiveId" clId="{EC468F96-23D0-441E-99D9-F383B9EB1F8F}" dt="2025-02-16T06:30:22.982" v="1825"/>
          <ac:spMkLst>
            <pc:docMk/>
            <pc:sldMk cId="1977816615" sldId="2145709126"/>
            <ac:spMk id="4" creationId="{437E354D-5EED-E935-85FF-529B4F4F5D5B}"/>
          </ac:spMkLst>
        </pc:spChg>
        <pc:spChg chg="add del mod">
          <ac:chgData name="Wasan Alkaltham" userId="66892628e8126b54" providerId="LiveId" clId="{EC468F96-23D0-441E-99D9-F383B9EB1F8F}" dt="2025-02-16T06:30:22.982" v="1825"/>
          <ac:spMkLst>
            <pc:docMk/>
            <pc:sldMk cId="1977816615" sldId="2145709126"/>
            <ac:spMk id="6" creationId="{F9FEF7AC-16A6-F7B4-E795-ACC78A7C7A2C}"/>
          </ac:spMkLst>
        </pc:spChg>
        <pc:spChg chg="add del mod">
          <ac:chgData name="Wasan Alkaltham" userId="66892628e8126b54" providerId="LiveId" clId="{EC468F96-23D0-441E-99D9-F383B9EB1F8F}" dt="2025-02-16T06:30:22.982" v="1825"/>
          <ac:spMkLst>
            <pc:docMk/>
            <pc:sldMk cId="1977816615" sldId="2145709126"/>
            <ac:spMk id="9" creationId="{5F6839D9-4ECC-1BB8-0B0E-9B1DA6D57C9D}"/>
          </ac:spMkLst>
        </pc:spChg>
        <pc:spChg chg="add del mod">
          <ac:chgData name="Wasan Alkaltham" userId="66892628e8126b54" providerId="LiveId" clId="{EC468F96-23D0-441E-99D9-F383B9EB1F8F}" dt="2025-02-16T06:30:22.982" v="1825"/>
          <ac:spMkLst>
            <pc:docMk/>
            <pc:sldMk cId="1977816615" sldId="2145709126"/>
            <ac:spMk id="10" creationId="{0AD2C8F9-1675-2B67-A889-03DDB52C0F80}"/>
          </ac:spMkLst>
        </pc:spChg>
        <pc:spChg chg="add del mod">
          <ac:chgData name="Wasan Alkaltham" userId="66892628e8126b54" providerId="LiveId" clId="{EC468F96-23D0-441E-99D9-F383B9EB1F8F}" dt="2025-02-16T06:29:44.909" v="1799" actId="478"/>
          <ac:spMkLst>
            <pc:docMk/>
            <pc:sldMk cId="1977816615" sldId="2145709126"/>
            <ac:spMk id="11" creationId="{3AC243DF-9511-787B-2B77-A8ED007CC07A}"/>
          </ac:spMkLst>
        </pc:spChg>
        <pc:spChg chg="add del mod">
          <ac:chgData name="Wasan Alkaltham" userId="66892628e8126b54" providerId="LiveId" clId="{EC468F96-23D0-441E-99D9-F383B9EB1F8F}" dt="2025-02-16T06:30:22.982" v="1825"/>
          <ac:spMkLst>
            <pc:docMk/>
            <pc:sldMk cId="1977816615" sldId="2145709126"/>
            <ac:spMk id="12" creationId="{0527D81D-CD77-A254-F976-3236364707C9}"/>
          </ac:spMkLst>
        </pc:spChg>
        <pc:spChg chg="add del mod">
          <ac:chgData name="Wasan Alkaltham" userId="66892628e8126b54" providerId="LiveId" clId="{EC468F96-23D0-441E-99D9-F383B9EB1F8F}" dt="2025-02-16T06:30:22.982" v="1825"/>
          <ac:spMkLst>
            <pc:docMk/>
            <pc:sldMk cId="1977816615" sldId="2145709126"/>
            <ac:spMk id="13" creationId="{B6E85F9A-4508-7CEC-2427-DCC4CA062FF3}"/>
          </ac:spMkLst>
        </pc:spChg>
        <pc:spChg chg="add del mod">
          <ac:chgData name="Wasan Alkaltham" userId="66892628e8126b54" providerId="LiveId" clId="{EC468F96-23D0-441E-99D9-F383B9EB1F8F}" dt="2025-02-16T06:30:22.982" v="1825"/>
          <ac:spMkLst>
            <pc:docMk/>
            <pc:sldMk cId="1977816615" sldId="2145709126"/>
            <ac:spMk id="14" creationId="{17815D3B-6337-E581-F0E4-3C216B5FF131}"/>
          </ac:spMkLst>
        </pc:spChg>
        <pc:spChg chg="del mod">
          <ac:chgData name="Wasan Alkaltham" userId="66892628e8126b54" providerId="LiveId" clId="{EC468F96-23D0-441E-99D9-F383B9EB1F8F}" dt="2025-02-16T06:31:14.643" v="1833"/>
          <ac:spMkLst>
            <pc:docMk/>
            <pc:sldMk cId="1977816615" sldId="2145709126"/>
            <ac:spMk id="15" creationId="{F1878F35-A9C9-DF3E-879F-4DDF997126A5}"/>
          </ac:spMkLst>
        </pc:spChg>
        <pc:spChg chg="add del mod">
          <ac:chgData name="Wasan Alkaltham" userId="66892628e8126b54" providerId="LiveId" clId="{EC468F96-23D0-441E-99D9-F383B9EB1F8F}" dt="2025-02-16T06:31:14.643" v="1833"/>
          <ac:spMkLst>
            <pc:docMk/>
            <pc:sldMk cId="1977816615" sldId="2145709126"/>
            <ac:spMk id="16" creationId="{105B083E-05F1-3812-965E-AEF6ADC37016}"/>
          </ac:spMkLst>
        </pc:spChg>
        <pc:spChg chg="mod">
          <ac:chgData name="Wasan Alkaltham" userId="66892628e8126b54" providerId="LiveId" clId="{EC468F96-23D0-441E-99D9-F383B9EB1F8F}" dt="2025-02-16T06:31:14.643" v="1833"/>
          <ac:spMkLst>
            <pc:docMk/>
            <pc:sldMk cId="1977816615" sldId="2145709126"/>
            <ac:spMk id="17" creationId="{F2153BD7-DD66-F61C-D95D-32E2D508ACCE}"/>
          </ac:spMkLst>
        </pc:spChg>
      </pc:sldChg>
      <pc:sldChg chg="addSp modSp add del mod">
        <pc:chgData name="Wasan Alkaltham" userId="66892628e8126b54" providerId="LiveId" clId="{EC468F96-23D0-441E-99D9-F383B9EB1F8F}" dt="2025-02-16T07:26:48.303" v="2408" actId="47"/>
        <pc:sldMkLst>
          <pc:docMk/>
          <pc:sldMk cId="2049144520" sldId="2145709127"/>
        </pc:sldMkLst>
        <pc:spChg chg="add mod">
          <ac:chgData name="Wasan Alkaltham" userId="66892628e8126b54" providerId="LiveId" clId="{EC468F96-23D0-441E-99D9-F383B9EB1F8F}" dt="2025-02-16T06:38:18.585" v="1847" actId="1035"/>
          <ac:spMkLst>
            <pc:docMk/>
            <pc:sldMk cId="2049144520" sldId="2145709127"/>
            <ac:spMk id="6" creationId="{E97CB735-3ACD-D432-0D82-96832907CE80}"/>
          </ac:spMkLst>
        </pc:spChg>
        <pc:spChg chg="add mod">
          <ac:chgData name="Wasan Alkaltham" userId="66892628e8126b54" providerId="LiveId" clId="{EC468F96-23D0-441E-99D9-F383B9EB1F8F}" dt="2025-02-16T06:38:30.020" v="1858" actId="1035"/>
          <ac:spMkLst>
            <pc:docMk/>
            <pc:sldMk cId="2049144520" sldId="2145709127"/>
            <ac:spMk id="9" creationId="{61EC2486-F513-51CA-D392-A7EDD9A382AA}"/>
          </ac:spMkLst>
        </pc:spChg>
        <pc:spChg chg="add mod">
          <ac:chgData name="Wasan Alkaltham" userId="66892628e8126b54" providerId="LiveId" clId="{EC468F96-23D0-441E-99D9-F383B9EB1F8F}" dt="2025-02-16T06:38:39.998" v="1860" actId="1076"/>
          <ac:spMkLst>
            <pc:docMk/>
            <pc:sldMk cId="2049144520" sldId="2145709127"/>
            <ac:spMk id="10" creationId="{9DF0A313-2B02-F4DD-55F7-BBC2736E5D26}"/>
          </ac:spMkLst>
        </pc:spChg>
        <pc:spChg chg="add mod">
          <ac:chgData name="Wasan Alkaltham" userId="66892628e8126b54" providerId="LiveId" clId="{EC468F96-23D0-441E-99D9-F383B9EB1F8F}" dt="2025-02-16T06:38:47.667" v="1862" actId="1076"/>
          <ac:spMkLst>
            <pc:docMk/>
            <pc:sldMk cId="2049144520" sldId="2145709127"/>
            <ac:spMk id="11" creationId="{8E950543-7BC2-FCA5-3443-5A0BF95BA2FF}"/>
          </ac:spMkLst>
        </pc:spChg>
        <pc:spChg chg="add mod">
          <ac:chgData name="Wasan Alkaltham" userId="66892628e8126b54" providerId="LiveId" clId="{EC468F96-23D0-441E-99D9-F383B9EB1F8F}" dt="2025-02-16T06:39:00.566" v="1867" actId="1038"/>
          <ac:spMkLst>
            <pc:docMk/>
            <pc:sldMk cId="2049144520" sldId="2145709127"/>
            <ac:spMk id="12" creationId="{D2F37807-BA7A-B923-EB5A-2F8FEED5E656}"/>
          </ac:spMkLst>
        </pc:spChg>
        <pc:spChg chg="add mod">
          <ac:chgData name="Wasan Alkaltham" userId="66892628e8126b54" providerId="LiveId" clId="{EC468F96-23D0-441E-99D9-F383B9EB1F8F}" dt="2025-02-16T06:39:11.558" v="1869" actId="1076"/>
          <ac:spMkLst>
            <pc:docMk/>
            <pc:sldMk cId="2049144520" sldId="2145709127"/>
            <ac:spMk id="13" creationId="{C3D427B3-D5FF-8D73-CAAF-BE3C56983A0A}"/>
          </ac:spMkLst>
        </pc:spChg>
        <pc:spChg chg="add mod">
          <ac:chgData name="Wasan Alkaltham" userId="66892628e8126b54" providerId="LiveId" clId="{EC468F96-23D0-441E-99D9-F383B9EB1F8F}" dt="2025-02-16T06:39:17.500" v="1871" actId="1076"/>
          <ac:spMkLst>
            <pc:docMk/>
            <pc:sldMk cId="2049144520" sldId="2145709127"/>
            <ac:spMk id="14" creationId="{A13F6D49-878A-1D86-1FB3-8FACD596A162}"/>
          </ac:spMkLst>
        </pc:spChg>
        <pc:spChg chg="add mod">
          <ac:chgData name="Wasan Alkaltham" userId="66892628e8126b54" providerId="LiveId" clId="{EC468F96-23D0-441E-99D9-F383B9EB1F8F}" dt="2025-02-16T06:39:23.975" v="1875" actId="1036"/>
          <ac:spMkLst>
            <pc:docMk/>
            <pc:sldMk cId="2049144520" sldId="2145709127"/>
            <ac:spMk id="15" creationId="{8DC6A802-DDD5-ED14-1A54-E87F3858943D}"/>
          </ac:spMkLst>
        </pc:spChg>
        <pc:spChg chg="add mod">
          <ac:chgData name="Wasan Alkaltham" userId="66892628e8126b54" providerId="LiveId" clId="{EC468F96-23D0-441E-99D9-F383B9EB1F8F}" dt="2025-02-16T06:39:30.132" v="1877" actId="1076"/>
          <ac:spMkLst>
            <pc:docMk/>
            <pc:sldMk cId="2049144520" sldId="2145709127"/>
            <ac:spMk id="16" creationId="{5D8A0651-8C9B-1FD7-9DDA-7BEB3A5371FD}"/>
          </ac:spMkLst>
        </pc:spChg>
        <pc:spChg chg="add mod">
          <ac:chgData name="Wasan Alkaltham" userId="66892628e8126b54" providerId="LiveId" clId="{EC468F96-23D0-441E-99D9-F383B9EB1F8F}" dt="2025-02-16T06:39:36.784" v="1879" actId="1076"/>
          <ac:spMkLst>
            <pc:docMk/>
            <pc:sldMk cId="2049144520" sldId="2145709127"/>
            <ac:spMk id="17" creationId="{4688DD8A-1DDA-3E3B-2EF7-D4DE31F748C2}"/>
          </ac:spMkLst>
        </pc:spChg>
        <pc:spChg chg="add mod">
          <ac:chgData name="Wasan Alkaltham" userId="66892628e8126b54" providerId="LiveId" clId="{EC468F96-23D0-441E-99D9-F383B9EB1F8F}" dt="2025-02-16T06:39:42.789" v="1882" actId="1035"/>
          <ac:spMkLst>
            <pc:docMk/>
            <pc:sldMk cId="2049144520" sldId="2145709127"/>
            <ac:spMk id="18" creationId="{431E3ADB-8F01-67AA-07B1-039B9652E9A3}"/>
          </ac:spMkLst>
        </pc:spChg>
        <pc:spChg chg="add mod">
          <ac:chgData name="Wasan Alkaltham" userId="66892628e8126b54" providerId="LiveId" clId="{EC468F96-23D0-441E-99D9-F383B9EB1F8F}" dt="2025-02-16T06:39:48.229" v="1888" actId="1035"/>
          <ac:spMkLst>
            <pc:docMk/>
            <pc:sldMk cId="2049144520" sldId="2145709127"/>
            <ac:spMk id="19" creationId="{1B29A6D8-04AD-8315-1B98-9B263D373DE6}"/>
          </ac:spMkLst>
        </pc:spChg>
      </pc:sldChg>
      <pc:sldChg chg="addSp modSp add del mod">
        <pc:chgData name="Wasan Alkaltham" userId="66892628e8126b54" providerId="LiveId" clId="{EC468F96-23D0-441E-99D9-F383B9EB1F8F}" dt="2025-02-16T07:26:48.885" v="2409" actId="47"/>
        <pc:sldMkLst>
          <pc:docMk/>
          <pc:sldMk cId="2862575855" sldId="2145709128"/>
        </pc:sldMkLst>
        <pc:spChg chg="add mod">
          <ac:chgData name="Wasan Alkaltham" userId="66892628e8126b54" providerId="LiveId" clId="{EC468F96-23D0-441E-99D9-F383B9EB1F8F}" dt="2025-02-16T06:40:03.244" v="1890" actId="14100"/>
          <ac:spMkLst>
            <pc:docMk/>
            <pc:sldMk cId="2862575855" sldId="2145709128"/>
            <ac:spMk id="4" creationId="{A45A1B5A-5D36-CACE-A832-30C99EA09F7A}"/>
          </ac:spMkLst>
        </pc:spChg>
        <pc:spChg chg="add mod">
          <ac:chgData name="Wasan Alkaltham" userId="66892628e8126b54" providerId="LiveId" clId="{EC468F96-23D0-441E-99D9-F383B9EB1F8F}" dt="2025-02-16T06:40:39.049" v="1909" actId="1076"/>
          <ac:spMkLst>
            <pc:docMk/>
            <pc:sldMk cId="2862575855" sldId="2145709128"/>
            <ac:spMk id="6" creationId="{AB1AAD2E-DC46-D05D-4A4E-5D96AF72B78C}"/>
          </ac:spMkLst>
        </pc:spChg>
        <pc:spChg chg="add mod">
          <ac:chgData name="Wasan Alkaltham" userId="66892628e8126b54" providerId="LiveId" clId="{EC468F96-23D0-441E-99D9-F383B9EB1F8F}" dt="2025-02-16T06:40:23.362" v="1905" actId="1035"/>
          <ac:spMkLst>
            <pc:docMk/>
            <pc:sldMk cId="2862575855" sldId="2145709128"/>
            <ac:spMk id="9" creationId="{208575B9-0835-9062-AD65-F486F927055F}"/>
          </ac:spMkLst>
        </pc:spChg>
        <pc:spChg chg="add mod">
          <ac:chgData name="Wasan Alkaltham" userId="66892628e8126b54" providerId="LiveId" clId="{EC468F96-23D0-441E-99D9-F383B9EB1F8F}" dt="2025-02-16T06:40:32.970" v="1907" actId="1076"/>
          <ac:spMkLst>
            <pc:docMk/>
            <pc:sldMk cId="2862575855" sldId="2145709128"/>
            <ac:spMk id="11" creationId="{A8E8328F-B9DD-127A-F71C-710F8EA8509F}"/>
          </ac:spMkLst>
        </pc:spChg>
      </pc:sldChg>
      <pc:sldChg chg="addSp delSp modSp add del mod">
        <pc:chgData name="Wasan Alkaltham" userId="66892628e8126b54" providerId="LiveId" clId="{EC468F96-23D0-441E-99D9-F383B9EB1F8F}" dt="2025-02-16T07:26:49.906" v="2410" actId="47"/>
        <pc:sldMkLst>
          <pc:docMk/>
          <pc:sldMk cId="916180902" sldId="2145709129"/>
        </pc:sldMkLst>
        <pc:spChg chg="add mod">
          <ac:chgData name="Wasan Alkaltham" userId="66892628e8126b54" providerId="LiveId" clId="{EC468F96-23D0-441E-99D9-F383B9EB1F8F}" dt="2025-02-16T07:07:37.858" v="2079" actId="1076"/>
          <ac:spMkLst>
            <pc:docMk/>
            <pc:sldMk cId="916180902" sldId="2145709129"/>
            <ac:spMk id="2" creationId="{345569EC-BB2B-6C43-197A-3F27C9E75109}"/>
          </ac:spMkLst>
        </pc:spChg>
        <pc:spChg chg="mod">
          <ac:chgData name="Wasan Alkaltham" userId="66892628e8126b54" providerId="LiveId" clId="{EC468F96-23D0-441E-99D9-F383B9EB1F8F}" dt="2025-02-16T07:15:54.678" v="2222" actId="404"/>
          <ac:spMkLst>
            <pc:docMk/>
            <pc:sldMk cId="916180902" sldId="2145709129"/>
            <ac:spMk id="3" creationId="{9A11EA52-31B8-E979-5E80-1E601E9BA7E2}"/>
          </ac:spMkLst>
        </pc:spChg>
        <pc:spChg chg="add mod">
          <ac:chgData name="Wasan Alkaltham" userId="66892628e8126b54" providerId="LiveId" clId="{EC468F96-23D0-441E-99D9-F383B9EB1F8F}" dt="2025-02-16T06:41:15.719" v="1915" actId="1037"/>
          <ac:spMkLst>
            <pc:docMk/>
            <pc:sldMk cId="916180902" sldId="2145709129"/>
            <ac:spMk id="6" creationId="{97A546C8-BB79-AD1A-EF80-D9FCB53ACB60}"/>
          </ac:spMkLst>
        </pc:spChg>
        <pc:spChg chg="add del mod">
          <ac:chgData name="Wasan Alkaltham" userId="66892628e8126b54" providerId="LiveId" clId="{EC468F96-23D0-441E-99D9-F383B9EB1F8F}" dt="2025-02-16T07:10:05.423" v="2132"/>
          <ac:spMkLst>
            <pc:docMk/>
            <pc:sldMk cId="916180902" sldId="2145709129"/>
            <ac:spMk id="9" creationId="{042AAC10-605D-E417-1958-7D79A06D4EF9}"/>
          </ac:spMkLst>
        </pc:spChg>
        <pc:spChg chg="add del mod">
          <ac:chgData name="Wasan Alkaltham" userId="66892628e8126b54" providerId="LiveId" clId="{EC468F96-23D0-441E-99D9-F383B9EB1F8F}" dt="2025-02-16T07:10:05.423" v="2132"/>
          <ac:spMkLst>
            <pc:docMk/>
            <pc:sldMk cId="916180902" sldId="2145709129"/>
            <ac:spMk id="10" creationId="{21A260E7-C7CC-6336-6020-2BA2D6C011D0}"/>
          </ac:spMkLst>
        </pc:spChg>
        <pc:spChg chg="add del mod">
          <ac:chgData name="Wasan Alkaltham" userId="66892628e8126b54" providerId="LiveId" clId="{EC468F96-23D0-441E-99D9-F383B9EB1F8F}" dt="2025-02-16T07:10:05.423" v="2132"/>
          <ac:spMkLst>
            <pc:docMk/>
            <pc:sldMk cId="916180902" sldId="2145709129"/>
            <ac:spMk id="11" creationId="{830709D1-1B41-CBDE-FB21-C372C9AA82C1}"/>
          </ac:spMkLst>
        </pc:spChg>
        <pc:spChg chg="add mod">
          <ac:chgData name="Wasan Alkaltham" userId="66892628e8126b54" providerId="LiveId" clId="{EC468F96-23D0-441E-99D9-F383B9EB1F8F}" dt="2025-02-16T06:41:52.107" v="1927" actId="1076"/>
          <ac:spMkLst>
            <pc:docMk/>
            <pc:sldMk cId="916180902" sldId="2145709129"/>
            <ac:spMk id="12" creationId="{A68F615A-208F-D9C5-DBF1-F32731B93B80}"/>
          </ac:spMkLst>
        </pc:spChg>
        <pc:spChg chg="add del mod">
          <ac:chgData name="Wasan Alkaltham" userId="66892628e8126b54" providerId="LiveId" clId="{EC468F96-23D0-441E-99D9-F383B9EB1F8F}" dt="2025-02-16T07:10:05.423" v="2132"/>
          <ac:spMkLst>
            <pc:docMk/>
            <pc:sldMk cId="916180902" sldId="2145709129"/>
            <ac:spMk id="13" creationId="{DBB98059-86D9-C28B-052E-1E8C59B1EEF2}"/>
          </ac:spMkLst>
        </pc:spChg>
        <pc:spChg chg="add mod">
          <ac:chgData name="Wasan Alkaltham" userId="66892628e8126b54" providerId="LiveId" clId="{EC468F96-23D0-441E-99D9-F383B9EB1F8F}" dt="2025-02-16T06:42:08.727" v="1936" actId="1076"/>
          <ac:spMkLst>
            <pc:docMk/>
            <pc:sldMk cId="916180902" sldId="2145709129"/>
            <ac:spMk id="14" creationId="{09BADEC9-E0D4-FF87-9CDA-999FF9424396}"/>
          </ac:spMkLst>
        </pc:spChg>
        <pc:spChg chg="add mod">
          <ac:chgData name="Wasan Alkaltham" userId="66892628e8126b54" providerId="LiveId" clId="{EC468F96-23D0-441E-99D9-F383B9EB1F8F}" dt="2025-02-16T07:08:03.700" v="2093" actId="1038"/>
          <ac:spMkLst>
            <pc:docMk/>
            <pc:sldMk cId="916180902" sldId="2145709129"/>
            <ac:spMk id="15" creationId="{5D598F98-B8D4-3028-AF34-12D761FEA499}"/>
          </ac:spMkLst>
        </pc:spChg>
        <pc:spChg chg="add del mod">
          <ac:chgData name="Wasan Alkaltham" userId="66892628e8126b54" providerId="LiveId" clId="{EC468F96-23D0-441E-99D9-F383B9EB1F8F}" dt="2025-02-16T07:08:09.005" v="2094" actId="478"/>
          <ac:spMkLst>
            <pc:docMk/>
            <pc:sldMk cId="916180902" sldId="2145709129"/>
            <ac:spMk id="16" creationId="{BFD56035-8130-A633-7FA2-551C278EB18D}"/>
          </ac:spMkLst>
        </pc:spChg>
        <pc:spChg chg="add del mod">
          <ac:chgData name="Wasan Alkaltham" userId="66892628e8126b54" providerId="LiveId" clId="{EC468F96-23D0-441E-99D9-F383B9EB1F8F}" dt="2025-02-16T06:42:42.223" v="1953" actId="478"/>
          <ac:spMkLst>
            <pc:docMk/>
            <pc:sldMk cId="916180902" sldId="2145709129"/>
            <ac:spMk id="17" creationId="{2C8121DD-4C17-36C8-F54A-373909C34530}"/>
          </ac:spMkLst>
        </pc:spChg>
        <pc:spChg chg="add del mod">
          <ac:chgData name="Wasan Alkaltham" userId="66892628e8126b54" providerId="LiveId" clId="{EC468F96-23D0-441E-99D9-F383B9EB1F8F}" dt="2025-02-16T07:10:05.423" v="2132"/>
          <ac:spMkLst>
            <pc:docMk/>
            <pc:sldMk cId="916180902" sldId="2145709129"/>
            <ac:spMk id="18" creationId="{261278F8-5633-487C-7570-300893CA0F62}"/>
          </ac:spMkLst>
        </pc:spChg>
        <pc:spChg chg="add del mod">
          <ac:chgData name="Wasan Alkaltham" userId="66892628e8126b54" providerId="LiveId" clId="{EC468F96-23D0-441E-99D9-F383B9EB1F8F}" dt="2025-02-16T07:10:05.423" v="2132"/>
          <ac:spMkLst>
            <pc:docMk/>
            <pc:sldMk cId="916180902" sldId="2145709129"/>
            <ac:spMk id="19" creationId="{42065AF5-A2D9-FFF0-3095-1F3FD5F7BB80}"/>
          </ac:spMkLst>
        </pc:spChg>
        <pc:spChg chg="add mod">
          <ac:chgData name="Wasan Alkaltham" userId="66892628e8126b54" providerId="LiveId" clId="{EC468F96-23D0-441E-99D9-F383B9EB1F8F}" dt="2025-02-16T07:06:41.492" v="2056" actId="14100"/>
          <ac:spMkLst>
            <pc:docMk/>
            <pc:sldMk cId="916180902" sldId="2145709129"/>
            <ac:spMk id="20" creationId="{02AC3222-4D46-7C98-E26D-8798563CA216}"/>
          </ac:spMkLst>
        </pc:spChg>
        <pc:spChg chg="add del mod">
          <ac:chgData name="Wasan Alkaltham" userId="66892628e8126b54" providerId="LiveId" clId="{EC468F96-23D0-441E-99D9-F383B9EB1F8F}" dt="2025-02-16T07:10:05.423" v="2132"/>
          <ac:spMkLst>
            <pc:docMk/>
            <pc:sldMk cId="916180902" sldId="2145709129"/>
            <ac:spMk id="21" creationId="{D7EB921E-C589-D335-3F9F-02A9DF0FE733}"/>
          </ac:spMkLst>
        </pc:spChg>
        <pc:spChg chg="add mod">
          <ac:chgData name="Wasan Alkaltham" userId="66892628e8126b54" providerId="LiveId" clId="{EC468F96-23D0-441E-99D9-F383B9EB1F8F}" dt="2025-02-16T07:07:07.801" v="2068" actId="1076"/>
          <ac:spMkLst>
            <pc:docMk/>
            <pc:sldMk cId="916180902" sldId="2145709129"/>
            <ac:spMk id="22" creationId="{00819A65-ED96-D178-AFCF-BD82DC6F1E12}"/>
          </ac:spMkLst>
        </pc:spChg>
        <pc:spChg chg="add mod">
          <ac:chgData name="Wasan Alkaltham" userId="66892628e8126b54" providerId="LiveId" clId="{EC468F96-23D0-441E-99D9-F383B9EB1F8F}" dt="2025-02-16T07:07:22.458" v="2074" actId="14100"/>
          <ac:spMkLst>
            <pc:docMk/>
            <pc:sldMk cId="916180902" sldId="2145709129"/>
            <ac:spMk id="23" creationId="{9D185754-5FD9-C590-363C-B72BC139FC98}"/>
          </ac:spMkLst>
        </pc:spChg>
        <pc:spChg chg="add del mod">
          <ac:chgData name="Wasan Alkaltham" userId="66892628e8126b54" providerId="LiveId" clId="{EC468F96-23D0-441E-99D9-F383B9EB1F8F}" dt="2025-02-16T07:10:05.423" v="2132"/>
          <ac:spMkLst>
            <pc:docMk/>
            <pc:sldMk cId="916180902" sldId="2145709129"/>
            <ac:spMk id="24" creationId="{488B48EF-0C8C-6A45-7766-223ABE218DE6}"/>
          </ac:spMkLst>
        </pc:spChg>
        <pc:spChg chg="add mod">
          <ac:chgData name="Wasan Alkaltham" userId="66892628e8126b54" providerId="LiveId" clId="{EC468F96-23D0-441E-99D9-F383B9EB1F8F}" dt="2025-02-16T07:08:03.700" v="2093" actId="1038"/>
          <ac:spMkLst>
            <pc:docMk/>
            <pc:sldMk cId="916180902" sldId="2145709129"/>
            <ac:spMk id="25" creationId="{D78F186C-05E1-3302-7840-1589C9F416A4}"/>
          </ac:spMkLst>
        </pc:spChg>
        <pc:spChg chg="add mod">
          <ac:chgData name="Wasan Alkaltham" userId="66892628e8126b54" providerId="LiveId" clId="{EC468F96-23D0-441E-99D9-F383B9EB1F8F}" dt="2025-02-16T07:08:39.522" v="2098" actId="14100"/>
          <ac:spMkLst>
            <pc:docMk/>
            <pc:sldMk cId="916180902" sldId="2145709129"/>
            <ac:spMk id="26" creationId="{60DAC870-3000-55C4-E9A3-706CC75B97EB}"/>
          </ac:spMkLst>
        </pc:spChg>
        <pc:spChg chg="add del mod">
          <ac:chgData name="Wasan Alkaltham" userId="66892628e8126b54" providerId="LiveId" clId="{EC468F96-23D0-441E-99D9-F383B9EB1F8F}" dt="2025-02-16T07:10:05.423" v="2132"/>
          <ac:spMkLst>
            <pc:docMk/>
            <pc:sldMk cId="916180902" sldId="2145709129"/>
            <ac:spMk id="27" creationId="{D74B5F4C-CCF1-6F52-3525-387F3783006B}"/>
          </ac:spMkLst>
        </pc:spChg>
        <pc:spChg chg="add del mod">
          <ac:chgData name="Wasan Alkaltham" userId="66892628e8126b54" providerId="LiveId" clId="{EC468F96-23D0-441E-99D9-F383B9EB1F8F}" dt="2025-02-16T07:08:49.739" v="2102" actId="478"/>
          <ac:spMkLst>
            <pc:docMk/>
            <pc:sldMk cId="916180902" sldId="2145709129"/>
            <ac:spMk id="28" creationId="{3B8BE506-6B98-0A14-4E9F-283A20C7974B}"/>
          </ac:spMkLst>
        </pc:spChg>
        <pc:spChg chg="add del mod">
          <ac:chgData name="Wasan Alkaltham" userId="66892628e8126b54" providerId="LiveId" clId="{EC468F96-23D0-441E-99D9-F383B9EB1F8F}" dt="2025-02-16T07:08:47.715" v="2101" actId="478"/>
          <ac:spMkLst>
            <pc:docMk/>
            <pc:sldMk cId="916180902" sldId="2145709129"/>
            <ac:spMk id="29" creationId="{EC84053D-944B-99DD-3407-BD2A51D317E3}"/>
          </ac:spMkLst>
        </pc:spChg>
        <pc:spChg chg="add del mod">
          <ac:chgData name="Wasan Alkaltham" userId="66892628e8126b54" providerId="LiveId" clId="{EC468F96-23D0-441E-99D9-F383B9EB1F8F}" dt="2025-02-16T07:08:58.385" v="2105" actId="478"/>
          <ac:spMkLst>
            <pc:docMk/>
            <pc:sldMk cId="916180902" sldId="2145709129"/>
            <ac:spMk id="30" creationId="{2D2AF7C1-C661-142E-6A27-1B6806C672B1}"/>
          </ac:spMkLst>
        </pc:spChg>
        <pc:spChg chg="add mod">
          <ac:chgData name="Wasan Alkaltham" userId="66892628e8126b54" providerId="LiveId" clId="{EC468F96-23D0-441E-99D9-F383B9EB1F8F}" dt="2025-02-16T07:09:42.037" v="2131" actId="1038"/>
          <ac:spMkLst>
            <pc:docMk/>
            <pc:sldMk cId="916180902" sldId="2145709129"/>
            <ac:spMk id="31" creationId="{4391B6CE-B49C-86F8-1302-ECA0043AC844}"/>
          </ac:spMkLst>
        </pc:spChg>
        <pc:spChg chg="add mod">
          <ac:chgData name="Wasan Alkaltham" userId="66892628e8126b54" providerId="LiveId" clId="{EC468F96-23D0-441E-99D9-F383B9EB1F8F}" dt="2025-02-16T07:09:06.518" v="2111" actId="1036"/>
          <ac:spMkLst>
            <pc:docMk/>
            <pc:sldMk cId="916180902" sldId="2145709129"/>
            <ac:spMk id="32" creationId="{D8550130-9066-5F4D-0B4E-F460A21AD2E9}"/>
          </ac:spMkLst>
        </pc:spChg>
        <pc:spChg chg="add mod">
          <ac:chgData name="Wasan Alkaltham" userId="66892628e8126b54" providerId="LiveId" clId="{EC468F96-23D0-441E-99D9-F383B9EB1F8F}" dt="2025-02-16T07:09:14.336" v="2114" actId="14100"/>
          <ac:spMkLst>
            <pc:docMk/>
            <pc:sldMk cId="916180902" sldId="2145709129"/>
            <ac:spMk id="33" creationId="{9962C1FA-6050-0D6A-496F-3D1C85E7D539}"/>
          </ac:spMkLst>
        </pc:spChg>
        <pc:spChg chg="add mod">
          <ac:chgData name="Wasan Alkaltham" userId="66892628e8126b54" providerId="LiveId" clId="{EC468F96-23D0-441E-99D9-F383B9EB1F8F}" dt="2025-02-16T07:09:30.342" v="2122" actId="14100"/>
          <ac:spMkLst>
            <pc:docMk/>
            <pc:sldMk cId="916180902" sldId="2145709129"/>
            <ac:spMk id="34" creationId="{287EFCAF-BE68-67BD-1930-F25A1244E7C6}"/>
          </ac:spMkLst>
        </pc:spChg>
        <pc:spChg chg="mod">
          <ac:chgData name="Wasan Alkaltham" userId="66892628e8126b54" providerId="LiveId" clId="{EC468F96-23D0-441E-99D9-F383B9EB1F8F}" dt="2025-02-16T07:10:05.423" v="2132"/>
          <ac:spMkLst>
            <pc:docMk/>
            <pc:sldMk cId="916180902" sldId="2145709129"/>
            <ac:spMk id="35" creationId="{5421906F-F1C7-2509-E0F0-3CF1BDFD045E}"/>
          </ac:spMkLst>
        </pc:spChg>
      </pc:sldChg>
      <pc:sldChg chg="addSp delSp modSp add del mod">
        <pc:chgData name="Wasan Alkaltham" userId="66892628e8126b54" providerId="LiveId" clId="{EC468F96-23D0-441E-99D9-F383B9EB1F8F}" dt="2025-02-16T07:27:07.823" v="2411" actId="47"/>
        <pc:sldMkLst>
          <pc:docMk/>
          <pc:sldMk cId="4160422755" sldId="2145709130"/>
        </pc:sldMkLst>
        <pc:spChg chg="add del mod">
          <ac:chgData name="Wasan Alkaltham" userId="66892628e8126b54" providerId="LiveId" clId="{EC468F96-23D0-441E-99D9-F383B9EB1F8F}" dt="2025-02-16T07:10:33.462" v="2133"/>
          <ac:spMkLst>
            <pc:docMk/>
            <pc:sldMk cId="4160422755" sldId="2145709130"/>
            <ac:spMk id="2" creationId="{1AD41A10-43DC-9A7F-7327-6275FDD9E9C6}"/>
          </ac:spMkLst>
        </pc:spChg>
        <pc:spChg chg="add mod">
          <ac:chgData name="Wasan Alkaltham" userId="66892628e8126b54" providerId="LiveId" clId="{EC468F96-23D0-441E-99D9-F383B9EB1F8F}" dt="2025-02-16T07:05:08.421" v="2027" actId="1038"/>
          <ac:spMkLst>
            <pc:docMk/>
            <pc:sldMk cId="4160422755" sldId="2145709130"/>
            <ac:spMk id="4" creationId="{0CACAF73-22BF-E648-6774-E3F34233B69A}"/>
          </ac:spMkLst>
        </pc:spChg>
        <pc:spChg chg="add del mod">
          <ac:chgData name="Wasan Alkaltham" userId="66892628e8126b54" providerId="LiveId" clId="{EC468F96-23D0-441E-99D9-F383B9EB1F8F}" dt="2025-02-16T07:10:33.462" v="2133"/>
          <ac:spMkLst>
            <pc:docMk/>
            <pc:sldMk cId="4160422755" sldId="2145709130"/>
            <ac:spMk id="6" creationId="{8819B0AC-A390-2F81-3BD8-2078B4A22B85}"/>
          </ac:spMkLst>
        </pc:spChg>
        <pc:spChg chg="add mod">
          <ac:chgData name="Wasan Alkaltham" userId="66892628e8126b54" providerId="LiveId" clId="{EC468F96-23D0-441E-99D9-F383B9EB1F8F}" dt="2025-02-16T06:43:28.013" v="1967" actId="1076"/>
          <ac:spMkLst>
            <pc:docMk/>
            <pc:sldMk cId="4160422755" sldId="2145709130"/>
            <ac:spMk id="10" creationId="{A8BDB5A8-DB96-0D89-D818-3E26B9ABC5B1}"/>
          </ac:spMkLst>
        </pc:spChg>
        <pc:spChg chg="add mod">
          <ac:chgData name="Wasan Alkaltham" userId="66892628e8126b54" providerId="LiveId" clId="{EC468F96-23D0-441E-99D9-F383B9EB1F8F}" dt="2025-02-16T06:43:39.013" v="1969" actId="1076"/>
          <ac:spMkLst>
            <pc:docMk/>
            <pc:sldMk cId="4160422755" sldId="2145709130"/>
            <ac:spMk id="11" creationId="{7449A865-8085-F8F6-E859-7C08276756A8}"/>
          </ac:spMkLst>
        </pc:spChg>
        <pc:spChg chg="add del mod">
          <ac:chgData name="Wasan Alkaltham" userId="66892628e8126b54" providerId="LiveId" clId="{EC468F96-23D0-441E-99D9-F383B9EB1F8F}" dt="2025-02-16T07:10:33.462" v="2133"/>
          <ac:spMkLst>
            <pc:docMk/>
            <pc:sldMk cId="4160422755" sldId="2145709130"/>
            <ac:spMk id="12" creationId="{8D0BAB55-A0E5-06FB-9F62-DE52352444CE}"/>
          </ac:spMkLst>
        </pc:spChg>
        <pc:spChg chg="add del mod">
          <ac:chgData name="Wasan Alkaltham" userId="66892628e8126b54" providerId="LiveId" clId="{EC468F96-23D0-441E-99D9-F383B9EB1F8F}" dt="2025-02-16T07:10:33.462" v="2133"/>
          <ac:spMkLst>
            <pc:docMk/>
            <pc:sldMk cId="4160422755" sldId="2145709130"/>
            <ac:spMk id="13" creationId="{0356A773-3A8A-0E73-F14D-82CD28295B73}"/>
          </ac:spMkLst>
        </pc:spChg>
        <pc:spChg chg="add del mod">
          <ac:chgData name="Wasan Alkaltham" userId="66892628e8126b54" providerId="LiveId" clId="{EC468F96-23D0-441E-99D9-F383B9EB1F8F}" dt="2025-02-16T07:10:33.462" v="2133"/>
          <ac:spMkLst>
            <pc:docMk/>
            <pc:sldMk cId="4160422755" sldId="2145709130"/>
            <ac:spMk id="14" creationId="{52FD0951-B653-585B-706D-905B23E0FA4A}"/>
          </ac:spMkLst>
        </pc:spChg>
        <pc:spChg chg="add del mod">
          <ac:chgData name="Wasan Alkaltham" userId="66892628e8126b54" providerId="LiveId" clId="{EC468F96-23D0-441E-99D9-F383B9EB1F8F}" dt="2025-02-16T07:10:33.462" v="2133"/>
          <ac:spMkLst>
            <pc:docMk/>
            <pc:sldMk cId="4160422755" sldId="2145709130"/>
            <ac:spMk id="15" creationId="{B6CD8F5D-0C87-8B39-4326-5051A0BCCBBF}"/>
          </ac:spMkLst>
        </pc:spChg>
        <pc:spChg chg="add del mod">
          <ac:chgData name="Wasan Alkaltham" userId="66892628e8126b54" providerId="LiveId" clId="{EC468F96-23D0-441E-99D9-F383B9EB1F8F}" dt="2025-02-16T07:10:33.462" v="2133"/>
          <ac:spMkLst>
            <pc:docMk/>
            <pc:sldMk cId="4160422755" sldId="2145709130"/>
            <ac:spMk id="16" creationId="{38991625-A5DE-6AD4-7618-3EE7A82EAB3F}"/>
          </ac:spMkLst>
        </pc:spChg>
        <pc:spChg chg="add del mod">
          <ac:chgData name="Wasan Alkaltham" userId="66892628e8126b54" providerId="LiveId" clId="{EC468F96-23D0-441E-99D9-F383B9EB1F8F}" dt="2025-02-16T07:10:33.462" v="2133"/>
          <ac:spMkLst>
            <pc:docMk/>
            <pc:sldMk cId="4160422755" sldId="2145709130"/>
            <ac:spMk id="17" creationId="{B197FD79-C474-3DCE-87FF-1D5925D5326E}"/>
          </ac:spMkLst>
        </pc:spChg>
        <pc:spChg chg="add mod">
          <ac:chgData name="Wasan Alkaltham" userId="66892628e8126b54" providerId="LiveId" clId="{EC468F96-23D0-441E-99D9-F383B9EB1F8F}" dt="2025-02-16T07:05:59.401" v="2043" actId="1035"/>
          <ac:spMkLst>
            <pc:docMk/>
            <pc:sldMk cId="4160422755" sldId="2145709130"/>
            <ac:spMk id="18" creationId="{FE57E200-C19C-E5A3-42F3-58D6376EE97B}"/>
          </ac:spMkLst>
        </pc:spChg>
        <pc:spChg chg="add del mod">
          <ac:chgData name="Wasan Alkaltham" userId="66892628e8126b54" providerId="LiveId" clId="{EC468F96-23D0-441E-99D9-F383B9EB1F8F}" dt="2025-02-16T07:10:33.462" v="2133"/>
          <ac:spMkLst>
            <pc:docMk/>
            <pc:sldMk cId="4160422755" sldId="2145709130"/>
            <ac:spMk id="19" creationId="{171889A2-0635-E932-91C1-6C4D35C86C57}"/>
          </ac:spMkLst>
        </pc:spChg>
        <pc:spChg chg="mod">
          <ac:chgData name="Wasan Alkaltham" userId="66892628e8126b54" providerId="LiveId" clId="{EC468F96-23D0-441E-99D9-F383B9EB1F8F}" dt="2025-02-16T07:10:33.462" v="2133"/>
          <ac:spMkLst>
            <pc:docMk/>
            <pc:sldMk cId="4160422755" sldId="2145709130"/>
            <ac:spMk id="20" creationId="{F39C794D-8688-C42F-2D14-BB93E09DD89B}"/>
          </ac:spMkLst>
        </pc:spChg>
      </pc:sldChg>
      <pc:sldChg chg="addSp delSp modSp mod">
        <pc:chgData name="Wasan Alkaltham" userId="66892628e8126b54" providerId="LiveId" clId="{EC468F96-23D0-441E-99D9-F383B9EB1F8F}" dt="2025-02-17T08:18:46.767" v="3278"/>
        <pc:sldMkLst>
          <pc:docMk/>
          <pc:sldMk cId="843905286" sldId="2145709134"/>
        </pc:sldMkLst>
        <pc:spChg chg="mod">
          <ac:chgData name="Wasan Alkaltham" userId="66892628e8126b54" providerId="LiveId" clId="{EC468F96-23D0-441E-99D9-F383B9EB1F8F}" dt="2025-02-13T08:52:34.500" v="1091" actId="11"/>
          <ac:spMkLst>
            <pc:docMk/>
            <pc:sldMk cId="843905286" sldId="2145709134"/>
            <ac:spMk id="3" creationId="{A2C2D685-54EB-B609-6A21-E05CE2A7523B}"/>
          </ac:spMkLst>
        </pc:spChg>
        <pc:spChg chg="add del mod">
          <ac:chgData name="Wasan Alkaltham" userId="66892628e8126b54" providerId="LiveId" clId="{EC468F96-23D0-441E-99D9-F383B9EB1F8F}" dt="2025-02-16T10:35:38.316" v="3016" actId="478"/>
          <ac:spMkLst>
            <pc:docMk/>
            <pc:sldMk cId="843905286" sldId="2145709134"/>
            <ac:spMk id="4" creationId="{C8634473-D3FD-4D04-129F-C3ACCDEDF124}"/>
          </ac:spMkLst>
        </pc:spChg>
        <pc:spChg chg="add mod">
          <ac:chgData name="Wasan Alkaltham" userId="66892628e8126b54" providerId="LiveId" clId="{EC468F96-23D0-441E-99D9-F383B9EB1F8F}" dt="2025-02-17T08:18:46.767" v="3278"/>
          <ac:spMkLst>
            <pc:docMk/>
            <pc:sldMk cId="843905286" sldId="2145709134"/>
            <ac:spMk id="6" creationId="{B255A556-57CB-8FA6-2F58-06B6C6F6CFF4}"/>
          </ac:spMkLst>
        </pc:spChg>
        <pc:spChg chg="del">
          <ac:chgData name="Wasan Alkaltham" userId="66892628e8126b54" providerId="LiveId" clId="{EC468F96-23D0-441E-99D9-F383B9EB1F8F}" dt="2025-02-16T10:35:36.690" v="3015" actId="478"/>
          <ac:spMkLst>
            <pc:docMk/>
            <pc:sldMk cId="843905286" sldId="2145709134"/>
            <ac:spMk id="7" creationId="{DCF6AA91-7533-7DD7-6C4A-D0E4F8847779}"/>
          </ac:spMkLst>
        </pc:spChg>
        <pc:spChg chg="mod">
          <ac:chgData name="Wasan Alkaltham" userId="66892628e8126b54" providerId="LiveId" clId="{EC468F96-23D0-441E-99D9-F383B9EB1F8F}" dt="2025-02-16T10:35:34.500" v="3014" actId="20577"/>
          <ac:spMkLst>
            <pc:docMk/>
            <pc:sldMk cId="843905286" sldId="2145709134"/>
            <ac:spMk id="8" creationId="{101450AA-ED95-AC62-1E22-734DF49CCE27}"/>
          </ac:spMkLst>
        </pc:spChg>
        <pc:spChg chg="add mod">
          <ac:chgData name="Wasan Alkaltham" userId="66892628e8126b54" providerId="LiveId" clId="{EC468F96-23D0-441E-99D9-F383B9EB1F8F}" dt="2025-02-13T08:50:42.071" v="1053" actId="1076"/>
          <ac:spMkLst>
            <pc:docMk/>
            <pc:sldMk cId="843905286" sldId="2145709134"/>
            <ac:spMk id="26" creationId="{14ECE087-F25C-4407-5E79-8D8286740861}"/>
          </ac:spMkLst>
        </pc:spChg>
        <pc:spChg chg="add mod">
          <ac:chgData name="Wasan Alkaltham" userId="66892628e8126b54" providerId="LiveId" clId="{EC468F96-23D0-441E-99D9-F383B9EB1F8F}" dt="2025-02-13T08:51:01.899" v="1070" actId="20577"/>
          <ac:spMkLst>
            <pc:docMk/>
            <pc:sldMk cId="843905286" sldId="2145709134"/>
            <ac:spMk id="27" creationId="{146475B3-67EE-565D-6A5E-3088AAA5B50D}"/>
          </ac:spMkLst>
        </pc:spChg>
        <pc:spChg chg="add mod">
          <ac:chgData name="Wasan Alkaltham" userId="66892628e8126b54" providerId="LiveId" clId="{EC468F96-23D0-441E-99D9-F383B9EB1F8F}" dt="2025-02-13T08:51:03.618" v="1071" actId="20577"/>
          <ac:spMkLst>
            <pc:docMk/>
            <pc:sldMk cId="843905286" sldId="2145709134"/>
            <ac:spMk id="28" creationId="{DACD00C2-C9CB-F567-443A-08481325357F}"/>
          </ac:spMkLst>
        </pc:spChg>
        <pc:spChg chg="mod">
          <ac:chgData name="Wasan Alkaltham" userId="66892628e8126b54" providerId="LiveId" clId="{EC468F96-23D0-441E-99D9-F383B9EB1F8F}" dt="2025-02-13T08:52:22.908" v="1090"/>
          <ac:spMkLst>
            <pc:docMk/>
            <pc:sldMk cId="843905286" sldId="2145709134"/>
            <ac:spMk id="32" creationId="{DE92C1B0-FEA2-8D79-5055-9997A7C3FC04}"/>
          </ac:spMkLst>
        </pc:spChg>
        <pc:spChg chg="add mod">
          <ac:chgData name="Wasan Alkaltham" userId="66892628e8126b54" providerId="LiveId" clId="{EC468F96-23D0-441E-99D9-F383B9EB1F8F}" dt="2025-02-13T08:52:50.841" v="1096" actId="20577"/>
          <ac:spMkLst>
            <pc:docMk/>
            <pc:sldMk cId="843905286" sldId="2145709134"/>
            <ac:spMk id="33" creationId="{108C0118-A988-C340-63FF-19A5F022063A}"/>
          </ac:spMkLst>
        </pc:spChg>
        <pc:spChg chg="add mod">
          <ac:chgData name="Wasan Alkaltham" userId="66892628e8126b54" providerId="LiveId" clId="{EC468F96-23D0-441E-99D9-F383B9EB1F8F}" dt="2025-02-13T08:52:52.761" v="1097" actId="20577"/>
          <ac:spMkLst>
            <pc:docMk/>
            <pc:sldMk cId="843905286" sldId="2145709134"/>
            <ac:spMk id="34" creationId="{F6242406-766D-43E4-B652-AF4A3AF8C85D}"/>
          </ac:spMkLst>
        </pc:spChg>
        <pc:picChg chg="mod">
          <ac:chgData name="Wasan Alkaltham" userId="66892628e8126b54" providerId="LiveId" clId="{EC468F96-23D0-441E-99D9-F383B9EB1F8F}" dt="2025-02-13T08:48:23.091" v="1013" actId="1076"/>
          <ac:picMkLst>
            <pc:docMk/>
            <pc:sldMk cId="843905286" sldId="2145709134"/>
            <ac:picMk id="9" creationId="{40A491A1-7874-FB6B-FC63-2F79965FCD60}"/>
          </ac:picMkLst>
        </pc:picChg>
      </pc:sldChg>
      <pc:sldChg chg="modSp mod">
        <pc:chgData name="Wasan Alkaltham" userId="66892628e8126b54" providerId="LiveId" clId="{EC468F96-23D0-441E-99D9-F383B9EB1F8F}" dt="2025-02-16T10:55:44.231" v="3233" actId="20577"/>
        <pc:sldMkLst>
          <pc:docMk/>
          <pc:sldMk cId="1546515781" sldId="2145709135"/>
        </pc:sldMkLst>
        <pc:spChg chg="mod">
          <ac:chgData name="Wasan Alkaltham" userId="66892628e8126b54" providerId="LiveId" clId="{EC468F96-23D0-441E-99D9-F383B9EB1F8F}" dt="2025-02-16T10:55:44.231" v="3233" actId="20577"/>
          <ac:spMkLst>
            <pc:docMk/>
            <pc:sldMk cId="1546515781" sldId="2145709135"/>
            <ac:spMk id="3" creationId="{4519A3EC-4B65-988F-41A2-6E93B9BF1184}"/>
          </ac:spMkLst>
        </pc:spChg>
      </pc:sldChg>
      <pc:sldChg chg="addSp delSp modSp add del mod">
        <pc:chgData name="Wasan Alkaltham" userId="66892628e8126b54" providerId="LiveId" clId="{EC468F96-23D0-441E-99D9-F383B9EB1F8F}" dt="2025-02-16T07:26:44.403" v="2401" actId="47"/>
        <pc:sldMkLst>
          <pc:docMk/>
          <pc:sldMk cId="1541697503" sldId="2145709137"/>
        </pc:sldMkLst>
      </pc:sldChg>
      <pc:sldChg chg="addSp delSp modSp add del mod">
        <pc:chgData name="Wasan Alkaltham" userId="66892628e8126b54" providerId="LiveId" clId="{EC468F96-23D0-441E-99D9-F383B9EB1F8F}" dt="2025-02-16T07:26:44.875" v="2402" actId="47"/>
        <pc:sldMkLst>
          <pc:docMk/>
          <pc:sldMk cId="897495679" sldId="2145709138"/>
        </pc:sldMkLst>
      </pc:sldChg>
      <pc:sldChg chg="addSp delSp modSp add del mod">
        <pc:chgData name="Wasan Alkaltham" userId="66892628e8126b54" providerId="LiveId" clId="{EC468F96-23D0-441E-99D9-F383B9EB1F8F}" dt="2025-02-16T07:26:45.441" v="2403" actId="47"/>
        <pc:sldMkLst>
          <pc:docMk/>
          <pc:sldMk cId="40063771" sldId="2145709139"/>
        </pc:sldMkLst>
      </pc:sldChg>
      <pc:sldChg chg="addSp delSp modSp add del mod">
        <pc:chgData name="Wasan Alkaltham" userId="66892628e8126b54" providerId="LiveId" clId="{EC468F96-23D0-441E-99D9-F383B9EB1F8F}" dt="2025-02-16T07:26:46.275" v="2404" actId="47"/>
        <pc:sldMkLst>
          <pc:docMk/>
          <pc:sldMk cId="2927655867" sldId="2145709140"/>
        </pc:sldMkLst>
      </pc:sldChg>
      <pc:sldChg chg="addSp delSp modSp add del mod">
        <pc:chgData name="Wasan Alkaltham" userId="66892628e8126b54" providerId="LiveId" clId="{EC468F96-23D0-441E-99D9-F383B9EB1F8F}" dt="2025-02-16T07:27:08.528" v="2412" actId="47"/>
        <pc:sldMkLst>
          <pc:docMk/>
          <pc:sldMk cId="661772157" sldId="2145709141"/>
        </pc:sldMkLst>
        <pc:spChg chg="add del mod">
          <ac:chgData name="Wasan Alkaltham" userId="66892628e8126b54" providerId="LiveId" clId="{EC468F96-23D0-441E-99D9-F383B9EB1F8F}" dt="2025-02-16T07:13:38.013" v="2170"/>
          <ac:spMkLst>
            <pc:docMk/>
            <pc:sldMk cId="661772157" sldId="2145709141"/>
            <ac:spMk id="2" creationId="{88221B65-E5A5-8CDB-9C13-144C30564D76}"/>
          </ac:spMkLst>
        </pc:spChg>
        <pc:spChg chg="mod">
          <ac:chgData name="Wasan Alkaltham" userId="66892628e8126b54" providerId="LiveId" clId="{EC468F96-23D0-441E-99D9-F383B9EB1F8F}" dt="2025-02-16T07:11:15.043" v="2147" actId="20577"/>
          <ac:spMkLst>
            <pc:docMk/>
            <pc:sldMk cId="661772157" sldId="2145709141"/>
            <ac:spMk id="3" creationId="{157C6705-974D-6B48-EA5A-6E1314181510}"/>
          </ac:spMkLst>
        </pc:spChg>
        <pc:spChg chg="add del mod">
          <ac:chgData name="Wasan Alkaltham" userId="66892628e8126b54" providerId="LiveId" clId="{EC468F96-23D0-441E-99D9-F383B9EB1F8F}" dt="2025-02-16T07:14:30.252" v="2177"/>
          <ac:spMkLst>
            <pc:docMk/>
            <pc:sldMk cId="661772157" sldId="2145709141"/>
            <ac:spMk id="6" creationId="{AFC20351-DD2A-F426-FD3B-F928046A8177}"/>
          </ac:spMkLst>
        </pc:spChg>
        <pc:spChg chg="add del mod">
          <ac:chgData name="Wasan Alkaltham" userId="66892628e8126b54" providerId="LiveId" clId="{EC468F96-23D0-441E-99D9-F383B9EB1F8F}" dt="2025-02-16T07:14:30.252" v="2177"/>
          <ac:spMkLst>
            <pc:docMk/>
            <pc:sldMk cId="661772157" sldId="2145709141"/>
            <ac:spMk id="9" creationId="{5CCE2135-938D-FCBC-3486-210AAB819980}"/>
          </ac:spMkLst>
        </pc:spChg>
        <pc:spChg chg="add del mod">
          <ac:chgData name="Wasan Alkaltham" userId="66892628e8126b54" providerId="LiveId" clId="{EC468F96-23D0-441E-99D9-F383B9EB1F8F}" dt="2025-02-16T07:13:38.013" v="2170"/>
          <ac:spMkLst>
            <pc:docMk/>
            <pc:sldMk cId="661772157" sldId="2145709141"/>
            <ac:spMk id="10" creationId="{71F1FC69-2301-B93D-B541-4A1FCDB66B7F}"/>
          </ac:spMkLst>
        </pc:spChg>
        <pc:spChg chg="add del mod">
          <ac:chgData name="Wasan Alkaltham" userId="66892628e8126b54" providerId="LiveId" clId="{EC468F96-23D0-441E-99D9-F383B9EB1F8F}" dt="2025-02-16T07:14:30.252" v="2177"/>
          <ac:spMkLst>
            <pc:docMk/>
            <pc:sldMk cId="661772157" sldId="2145709141"/>
            <ac:spMk id="11" creationId="{6A98461C-7DBE-01EE-EC3B-7360257CB503}"/>
          </ac:spMkLst>
        </pc:spChg>
        <pc:spChg chg="add del mod">
          <ac:chgData name="Wasan Alkaltham" userId="66892628e8126b54" providerId="LiveId" clId="{EC468F96-23D0-441E-99D9-F383B9EB1F8F}" dt="2025-02-16T07:13:45.279" v="2173"/>
          <ac:spMkLst>
            <pc:docMk/>
            <pc:sldMk cId="661772157" sldId="2145709141"/>
            <ac:spMk id="12" creationId="{BC6066C5-0AC5-AA47-7E50-204AD52ADB62}"/>
          </ac:spMkLst>
        </pc:spChg>
        <pc:spChg chg="add del mod">
          <ac:chgData name="Wasan Alkaltham" userId="66892628e8126b54" providerId="LiveId" clId="{EC468F96-23D0-441E-99D9-F383B9EB1F8F}" dt="2025-02-16T07:14:30.252" v="2177"/>
          <ac:spMkLst>
            <pc:docMk/>
            <pc:sldMk cId="661772157" sldId="2145709141"/>
            <ac:spMk id="13" creationId="{A75006A4-C49D-5BCC-A302-E544C070FD8E}"/>
          </ac:spMkLst>
        </pc:spChg>
        <pc:spChg chg="add del mod">
          <ac:chgData name="Wasan Alkaltham" userId="66892628e8126b54" providerId="LiveId" clId="{EC468F96-23D0-441E-99D9-F383B9EB1F8F}" dt="2025-02-16T07:11:10.390" v="2146" actId="478"/>
          <ac:spMkLst>
            <pc:docMk/>
            <pc:sldMk cId="661772157" sldId="2145709141"/>
            <ac:spMk id="14" creationId="{00EC97D0-E454-BD8A-2A47-4694578CBF9B}"/>
          </ac:spMkLst>
        </pc:spChg>
        <pc:spChg chg="add del mod">
          <ac:chgData name="Wasan Alkaltham" userId="66892628e8126b54" providerId="LiveId" clId="{EC468F96-23D0-441E-99D9-F383B9EB1F8F}" dt="2025-02-16T06:56:02.205" v="2021" actId="478"/>
          <ac:spMkLst>
            <pc:docMk/>
            <pc:sldMk cId="661772157" sldId="2145709141"/>
            <ac:spMk id="15" creationId="{EBAAC364-FA6D-D688-7B81-94277E962493}"/>
          </ac:spMkLst>
        </pc:spChg>
        <pc:spChg chg="add del mod">
          <ac:chgData name="Wasan Alkaltham" userId="66892628e8126b54" providerId="LiveId" clId="{EC468F96-23D0-441E-99D9-F383B9EB1F8F}" dt="2025-02-16T07:14:30.252" v="2177"/>
          <ac:spMkLst>
            <pc:docMk/>
            <pc:sldMk cId="661772157" sldId="2145709141"/>
            <ac:spMk id="16" creationId="{1E552F1E-D6EE-6D36-CF59-A181E0CC2EF8}"/>
          </ac:spMkLst>
        </pc:spChg>
        <pc:spChg chg="add del mod">
          <ac:chgData name="Wasan Alkaltham" userId="66892628e8126b54" providerId="LiveId" clId="{EC468F96-23D0-441E-99D9-F383B9EB1F8F}" dt="2025-02-16T07:13:38.013" v="2170"/>
          <ac:spMkLst>
            <pc:docMk/>
            <pc:sldMk cId="661772157" sldId="2145709141"/>
            <ac:spMk id="17" creationId="{E0ED2CA1-350A-7D74-0FB2-D237B37E9935}"/>
          </ac:spMkLst>
        </pc:spChg>
        <pc:spChg chg="add del mod">
          <ac:chgData name="Wasan Alkaltham" userId="66892628e8126b54" providerId="LiveId" clId="{EC468F96-23D0-441E-99D9-F383B9EB1F8F}" dt="2025-02-16T07:14:30.252" v="2177"/>
          <ac:spMkLst>
            <pc:docMk/>
            <pc:sldMk cId="661772157" sldId="2145709141"/>
            <ac:spMk id="18" creationId="{A6B6AFE7-9EB8-C037-CCE1-0265163ACC14}"/>
          </ac:spMkLst>
        </pc:spChg>
        <pc:spChg chg="add del mod">
          <ac:chgData name="Wasan Alkaltham" userId="66892628e8126b54" providerId="LiveId" clId="{EC468F96-23D0-441E-99D9-F383B9EB1F8F}" dt="2025-02-16T07:13:45.279" v="2173"/>
          <ac:spMkLst>
            <pc:docMk/>
            <pc:sldMk cId="661772157" sldId="2145709141"/>
            <ac:spMk id="19" creationId="{305B94EF-EB6B-FAD8-5A91-6156FB1A6BA3}"/>
          </ac:spMkLst>
        </pc:spChg>
        <pc:spChg chg="add del mod">
          <ac:chgData name="Wasan Alkaltham" userId="66892628e8126b54" providerId="LiveId" clId="{EC468F96-23D0-441E-99D9-F383B9EB1F8F}" dt="2025-02-16T07:14:30.252" v="2177"/>
          <ac:spMkLst>
            <pc:docMk/>
            <pc:sldMk cId="661772157" sldId="2145709141"/>
            <ac:spMk id="20" creationId="{3645AB0C-BD49-3A46-9ECD-F05E4EFA8BEC}"/>
          </ac:spMkLst>
        </pc:spChg>
        <pc:spChg chg="add del mod">
          <ac:chgData name="Wasan Alkaltham" userId="66892628e8126b54" providerId="LiveId" clId="{EC468F96-23D0-441E-99D9-F383B9EB1F8F}" dt="2025-02-16T07:13:45.279" v="2173"/>
          <ac:spMkLst>
            <pc:docMk/>
            <pc:sldMk cId="661772157" sldId="2145709141"/>
            <ac:spMk id="21" creationId="{2E47AD21-8B17-77A3-8D86-CFCE26C5A7B8}"/>
          </ac:spMkLst>
        </pc:spChg>
        <pc:spChg chg="del mod">
          <ac:chgData name="Wasan Alkaltham" userId="66892628e8126b54" providerId="LiveId" clId="{EC468F96-23D0-441E-99D9-F383B9EB1F8F}" dt="2025-02-16T07:13:45.279" v="2173"/>
          <ac:spMkLst>
            <pc:docMk/>
            <pc:sldMk cId="661772157" sldId="2145709141"/>
            <ac:spMk id="22" creationId="{40E0BD80-758A-2721-02A8-16D9FE064977}"/>
          </ac:spMkLst>
        </pc:spChg>
        <pc:spChg chg="del mod">
          <ac:chgData name="Wasan Alkaltham" userId="66892628e8126b54" providerId="LiveId" clId="{EC468F96-23D0-441E-99D9-F383B9EB1F8F}" dt="2025-02-16T07:14:30.252" v="2177"/>
          <ac:spMkLst>
            <pc:docMk/>
            <pc:sldMk cId="661772157" sldId="2145709141"/>
            <ac:spMk id="23" creationId="{FDDF6A10-FD90-1782-B1B4-B2666EA26C2F}"/>
          </ac:spMkLst>
        </pc:spChg>
        <pc:spChg chg="mod">
          <ac:chgData name="Wasan Alkaltham" userId="66892628e8126b54" providerId="LiveId" clId="{EC468F96-23D0-441E-99D9-F383B9EB1F8F}" dt="2025-02-16T07:14:30.252" v="2177"/>
          <ac:spMkLst>
            <pc:docMk/>
            <pc:sldMk cId="661772157" sldId="2145709141"/>
            <ac:spMk id="24" creationId="{3AD3B158-DDC8-1156-F41D-76C567655ABF}"/>
          </ac:spMkLst>
        </pc:spChg>
      </pc:sldChg>
      <pc:sldChg chg="addSp delSp modSp mod">
        <pc:chgData name="Wasan Alkaltham" userId="66892628e8126b54" providerId="LiveId" clId="{EC468F96-23D0-441E-99D9-F383B9EB1F8F}" dt="2025-02-16T10:38:32.986" v="3099" actId="20577"/>
        <pc:sldMkLst>
          <pc:docMk/>
          <pc:sldMk cId="1305470806" sldId="2145709142"/>
        </pc:sldMkLst>
        <pc:spChg chg="mod">
          <ac:chgData name="Wasan Alkaltham" userId="66892628e8126b54" providerId="LiveId" clId="{EC468F96-23D0-441E-99D9-F383B9EB1F8F}" dt="2025-02-16T10:38:32.986" v="3099" actId="20577"/>
          <ac:spMkLst>
            <pc:docMk/>
            <pc:sldMk cId="1305470806" sldId="2145709142"/>
            <ac:spMk id="7" creationId="{D7FA4CD4-3DAA-4F31-F960-11079FD06B25}"/>
          </ac:spMkLst>
        </pc:spChg>
        <pc:spChg chg="mod">
          <ac:chgData name="Wasan Alkaltham" userId="66892628e8126b54" providerId="LiveId" clId="{EC468F96-23D0-441E-99D9-F383B9EB1F8F}" dt="2025-02-16T10:32:14.898" v="2879" actId="20577"/>
          <ac:spMkLst>
            <pc:docMk/>
            <pc:sldMk cId="1305470806" sldId="2145709142"/>
            <ac:spMk id="8" creationId="{D6780B4E-3558-2508-3EB1-DDC24114326B}"/>
          </ac:spMkLst>
        </pc:spChg>
        <pc:spChg chg="mod">
          <ac:chgData name="Wasan Alkaltham" userId="66892628e8126b54" providerId="LiveId" clId="{EC468F96-23D0-441E-99D9-F383B9EB1F8F}" dt="2025-02-13T08:13:08.259" v="496"/>
          <ac:spMkLst>
            <pc:docMk/>
            <pc:sldMk cId="1305470806" sldId="2145709142"/>
            <ac:spMk id="14" creationId="{7221AF9A-2C4A-3AB1-4390-0A7BB2D58DC3}"/>
          </ac:spMkLst>
        </pc:spChg>
        <pc:spChg chg="add mod">
          <ac:chgData name="Wasan Alkaltham" userId="66892628e8126b54" providerId="LiveId" clId="{EC468F96-23D0-441E-99D9-F383B9EB1F8F}" dt="2025-02-13T08:13:21.184" v="498" actId="1076"/>
          <ac:spMkLst>
            <pc:docMk/>
            <pc:sldMk cId="1305470806" sldId="2145709142"/>
            <ac:spMk id="15" creationId="{FF194DC7-52E9-8ED6-45ED-5A0196F6CEEE}"/>
          </ac:spMkLst>
        </pc:spChg>
        <pc:spChg chg="add mod">
          <ac:chgData name="Wasan Alkaltham" userId="66892628e8126b54" providerId="LiveId" clId="{EC468F96-23D0-441E-99D9-F383B9EB1F8F}" dt="2025-02-13T08:13:27.069" v="501" actId="20577"/>
          <ac:spMkLst>
            <pc:docMk/>
            <pc:sldMk cId="1305470806" sldId="2145709142"/>
            <ac:spMk id="16" creationId="{F28A04A6-B41F-C90A-1654-20BC0CBF90C4}"/>
          </ac:spMkLst>
        </pc:spChg>
        <pc:spChg chg="add mod">
          <ac:chgData name="Wasan Alkaltham" userId="66892628e8126b54" providerId="LiveId" clId="{EC468F96-23D0-441E-99D9-F383B9EB1F8F}" dt="2025-02-13T08:13:34.636" v="504" actId="1076"/>
          <ac:spMkLst>
            <pc:docMk/>
            <pc:sldMk cId="1305470806" sldId="2145709142"/>
            <ac:spMk id="17" creationId="{BB96B729-E299-706A-A2FF-086EFDD137A6}"/>
          </ac:spMkLst>
        </pc:spChg>
        <pc:spChg chg="add mod">
          <ac:chgData name="Wasan Alkaltham" userId="66892628e8126b54" providerId="LiveId" clId="{EC468F96-23D0-441E-99D9-F383B9EB1F8F}" dt="2025-02-13T08:13:42.309" v="507" actId="20577"/>
          <ac:spMkLst>
            <pc:docMk/>
            <pc:sldMk cId="1305470806" sldId="2145709142"/>
            <ac:spMk id="18" creationId="{C81D8EC1-41CF-4812-70BA-1242529E9059}"/>
          </ac:spMkLst>
        </pc:spChg>
        <pc:spChg chg="mod">
          <ac:chgData name="Wasan Alkaltham" userId="66892628e8126b54" providerId="LiveId" clId="{EC468F96-23D0-441E-99D9-F383B9EB1F8F}" dt="2025-02-13T08:11:51.740" v="492" actId="11"/>
          <ac:spMkLst>
            <pc:docMk/>
            <pc:sldMk cId="1305470806" sldId="2145709142"/>
            <ac:spMk id="21" creationId="{DF9B9CFD-1C41-F763-09C0-619E4E859D5E}"/>
          </ac:spMkLst>
        </pc:spChg>
      </pc:sldChg>
      <pc:sldChg chg="addSp delSp modSp mod">
        <pc:chgData name="Wasan Alkaltham" userId="66892628e8126b54" providerId="LiveId" clId="{EC468F96-23D0-441E-99D9-F383B9EB1F8F}" dt="2025-02-16T10:39:01.480" v="3108" actId="20577"/>
        <pc:sldMkLst>
          <pc:docMk/>
          <pc:sldMk cId="2410434205" sldId="2145709143"/>
        </pc:sldMkLst>
        <pc:spChg chg="add del mod">
          <ac:chgData name="Wasan Alkaltham" userId="66892628e8126b54" providerId="LiveId" clId="{EC468F96-23D0-441E-99D9-F383B9EB1F8F}" dt="2025-02-16T10:32:31.409" v="2883" actId="478"/>
          <ac:spMkLst>
            <pc:docMk/>
            <pc:sldMk cId="2410434205" sldId="2145709143"/>
            <ac:spMk id="4" creationId="{15447711-E449-499C-6D02-B1771B7A291F}"/>
          </ac:spMkLst>
        </pc:spChg>
        <pc:spChg chg="add del mod">
          <ac:chgData name="Wasan Alkaltham" userId="66892628e8126b54" providerId="LiveId" clId="{EC468F96-23D0-441E-99D9-F383B9EB1F8F}" dt="2025-02-16T10:32:30.286" v="2882" actId="478"/>
          <ac:spMkLst>
            <pc:docMk/>
            <pc:sldMk cId="2410434205" sldId="2145709143"/>
            <ac:spMk id="6" creationId="{443C4588-057E-7374-BDE4-0E3A60BE2B50}"/>
          </ac:spMkLst>
        </pc:spChg>
        <pc:spChg chg="mod">
          <ac:chgData name="Wasan Alkaltham" userId="66892628e8126b54" providerId="LiveId" clId="{EC468F96-23D0-441E-99D9-F383B9EB1F8F}" dt="2025-02-16T10:39:01.480" v="3108" actId="20577"/>
          <ac:spMkLst>
            <pc:docMk/>
            <pc:sldMk cId="2410434205" sldId="2145709143"/>
            <ac:spMk id="7" creationId="{76421159-5781-869A-A235-53B5D84A92AB}"/>
          </ac:spMkLst>
        </pc:spChg>
        <pc:spChg chg="del">
          <ac:chgData name="Wasan Alkaltham" userId="66892628e8126b54" providerId="LiveId" clId="{EC468F96-23D0-441E-99D9-F383B9EB1F8F}" dt="2025-02-16T10:32:28.357" v="2880" actId="478"/>
          <ac:spMkLst>
            <pc:docMk/>
            <pc:sldMk cId="2410434205" sldId="2145709143"/>
            <ac:spMk id="8" creationId="{C97F9E61-45DE-B2FE-AC27-D9F6B944B210}"/>
          </ac:spMkLst>
        </pc:spChg>
        <pc:spChg chg="add mod">
          <ac:chgData name="Wasan Alkaltham" userId="66892628e8126b54" providerId="LiveId" clId="{EC468F96-23D0-441E-99D9-F383B9EB1F8F}" dt="2025-02-16T10:32:32.592" v="2884"/>
          <ac:spMkLst>
            <pc:docMk/>
            <pc:sldMk cId="2410434205" sldId="2145709143"/>
            <ac:spMk id="9" creationId="{D0F91A31-E255-2AF5-F66D-F76928A13A3E}"/>
          </ac:spMkLst>
        </pc:spChg>
        <pc:spChg chg="mod">
          <ac:chgData name="Wasan Alkaltham" userId="66892628e8126b54" providerId="LiveId" clId="{EC468F96-23D0-441E-99D9-F383B9EB1F8F}" dt="2025-02-13T08:15:48.839" v="527" actId="1076"/>
          <ac:spMkLst>
            <pc:docMk/>
            <pc:sldMk cId="2410434205" sldId="2145709143"/>
            <ac:spMk id="10" creationId="{52BFE0F7-B1CE-A80C-9F50-3932DB69CEB1}"/>
          </ac:spMkLst>
        </pc:spChg>
        <pc:spChg chg="add mod">
          <ac:chgData name="Wasan Alkaltham" userId="66892628e8126b54" providerId="LiveId" clId="{EC468F96-23D0-441E-99D9-F383B9EB1F8F}" dt="2025-02-13T08:15:39.619" v="521" actId="1076"/>
          <ac:spMkLst>
            <pc:docMk/>
            <pc:sldMk cId="2410434205" sldId="2145709143"/>
            <ac:spMk id="11" creationId="{73A90B21-8121-3702-1976-BC9EB860D881}"/>
          </ac:spMkLst>
        </pc:spChg>
        <pc:spChg chg="add mod">
          <ac:chgData name="Wasan Alkaltham" userId="66892628e8126b54" providerId="LiveId" clId="{EC468F96-23D0-441E-99D9-F383B9EB1F8F}" dt="2025-02-13T08:15:46.565" v="524" actId="20577"/>
          <ac:spMkLst>
            <pc:docMk/>
            <pc:sldMk cId="2410434205" sldId="2145709143"/>
            <ac:spMk id="12" creationId="{7C35336A-CBD6-79F5-826C-028374158974}"/>
          </ac:spMkLst>
        </pc:spChg>
        <pc:spChg chg="add mod">
          <ac:chgData name="Wasan Alkaltham" userId="66892628e8126b54" providerId="LiveId" clId="{EC468F96-23D0-441E-99D9-F383B9EB1F8F}" dt="2025-02-13T08:15:55.885" v="529" actId="20577"/>
          <ac:spMkLst>
            <pc:docMk/>
            <pc:sldMk cId="2410434205" sldId="2145709143"/>
            <ac:spMk id="13" creationId="{7245AAEF-9814-FCCC-7709-A07D43B02965}"/>
          </ac:spMkLst>
        </pc:spChg>
      </pc:sldChg>
      <pc:sldChg chg="addSp delSp modSp mod">
        <pc:chgData name="Wasan Alkaltham" userId="66892628e8126b54" providerId="LiveId" clId="{EC468F96-23D0-441E-99D9-F383B9EB1F8F}" dt="2025-02-16T10:32:46.681" v="2899" actId="20577"/>
        <pc:sldMkLst>
          <pc:docMk/>
          <pc:sldMk cId="3947533119" sldId="2145709144"/>
        </pc:sldMkLst>
        <pc:spChg chg="add del mod">
          <ac:chgData name="Wasan Alkaltham" userId="66892628e8126b54" providerId="LiveId" clId="{EC468F96-23D0-441E-99D9-F383B9EB1F8F}" dt="2025-02-16T10:32:40.465" v="2886" actId="478"/>
          <ac:spMkLst>
            <pc:docMk/>
            <pc:sldMk cId="3947533119" sldId="2145709144"/>
            <ac:spMk id="3" creationId="{07D08709-423A-07DC-9FE0-13718FBF4CE0}"/>
          </ac:spMkLst>
        </pc:spChg>
        <pc:spChg chg="add del mod">
          <ac:chgData name="Wasan Alkaltham" userId="66892628e8126b54" providerId="LiveId" clId="{EC468F96-23D0-441E-99D9-F383B9EB1F8F}" dt="2025-02-16T09:59:54.825" v="2470" actId="478"/>
          <ac:spMkLst>
            <pc:docMk/>
            <pc:sldMk cId="3947533119" sldId="2145709144"/>
            <ac:spMk id="4" creationId="{3521332E-FEDE-69C9-2422-C29293D748F7}"/>
          </ac:spMkLst>
        </pc:spChg>
        <pc:spChg chg="add mod">
          <ac:chgData name="Wasan Alkaltham" userId="66892628e8126b54" providerId="LiveId" clId="{EC468F96-23D0-441E-99D9-F383B9EB1F8F}" dt="2025-02-16T10:32:40.830" v="2887"/>
          <ac:spMkLst>
            <pc:docMk/>
            <pc:sldMk cId="3947533119" sldId="2145709144"/>
            <ac:spMk id="6" creationId="{F0D5B03A-FEA5-7664-72FD-7C73ACA42E1E}"/>
          </ac:spMkLst>
        </pc:spChg>
        <pc:spChg chg="mod">
          <ac:chgData name="Wasan Alkaltham" userId="66892628e8126b54" providerId="LiveId" clId="{EC468F96-23D0-441E-99D9-F383B9EB1F8F}" dt="2025-02-16T10:32:46.681" v="2899" actId="20577"/>
          <ac:spMkLst>
            <pc:docMk/>
            <pc:sldMk cId="3947533119" sldId="2145709144"/>
            <ac:spMk id="7" creationId="{0C8C2032-A83F-9FEC-4C14-4346F7585BAB}"/>
          </ac:spMkLst>
        </pc:spChg>
        <pc:spChg chg="del">
          <ac:chgData name="Wasan Alkaltham" userId="66892628e8126b54" providerId="LiveId" clId="{EC468F96-23D0-441E-99D9-F383B9EB1F8F}" dt="2025-02-16T10:32:38.643" v="2885" actId="478"/>
          <ac:spMkLst>
            <pc:docMk/>
            <pc:sldMk cId="3947533119" sldId="2145709144"/>
            <ac:spMk id="8" creationId="{8D62EFCB-E8E3-2CB6-5B01-3A2AAE007C5E}"/>
          </ac:spMkLst>
        </pc:spChg>
        <pc:spChg chg="mod">
          <ac:chgData name="Wasan Alkaltham" userId="66892628e8126b54" providerId="LiveId" clId="{EC468F96-23D0-441E-99D9-F383B9EB1F8F}" dt="2025-02-13T08:17:16.330" v="541"/>
          <ac:spMkLst>
            <pc:docMk/>
            <pc:sldMk cId="3947533119" sldId="2145709144"/>
            <ac:spMk id="13" creationId="{5A32B53A-780E-5B8D-6FFC-B9B6888A55AF}"/>
          </ac:spMkLst>
        </pc:spChg>
        <pc:spChg chg="mod">
          <ac:chgData name="Wasan Alkaltham" userId="66892628e8126b54" providerId="LiveId" clId="{EC468F96-23D0-441E-99D9-F383B9EB1F8F}" dt="2025-02-13T08:17:21.356" v="542"/>
          <ac:spMkLst>
            <pc:docMk/>
            <pc:sldMk cId="3947533119" sldId="2145709144"/>
            <ac:spMk id="15" creationId="{49A78AE9-A9D2-5521-B530-2492A5D82791}"/>
          </ac:spMkLst>
        </pc:spChg>
        <pc:spChg chg="add mod">
          <ac:chgData name="Wasan Alkaltham" userId="66892628e8126b54" providerId="LiveId" clId="{EC468F96-23D0-441E-99D9-F383B9EB1F8F}" dt="2025-02-13T08:17:32.945" v="544" actId="1076"/>
          <ac:spMkLst>
            <pc:docMk/>
            <pc:sldMk cId="3947533119" sldId="2145709144"/>
            <ac:spMk id="16" creationId="{13487202-4878-2913-5CFF-0088420E6F0A}"/>
          </ac:spMkLst>
        </pc:spChg>
        <pc:spChg chg="add mod">
          <ac:chgData name="Wasan Alkaltham" userId="66892628e8126b54" providerId="LiveId" clId="{EC468F96-23D0-441E-99D9-F383B9EB1F8F}" dt="2025-02-13T08:17:38.367" v="546" actId="1076"/>
          <ac:spMkLst>
            <pc:docMk/>
            <pc:sldMk cId="3947533119" sldId="2145709144"/>
            <ac:spMk id="17" creationId="{C28A8AE9-AA31-5737-8114-AC01CCB082FC}"/>
          </ac:spMkLst>
        </pc:spChg>
        <pc:spChg chg="add mod">
          <ac:chgData name="Wasan Alkaltham" userId="66892628e8126b54" providerId="LiveId" clId="{EC468F96-23D0-441E-99D9-F383B9EB1F8F}" dt="2025-02-13T08:17:54.301" v="552" actId="1076"/>
          <ac:spMkLst>
            <pc:docMk/>
            <pc:sldMk cId="3947533119" sldId="2145709144"/>
            <ac:spMk id="18" creationId="{0891D1C7-2619-D2B5-A339-BFE43552340D}"/>
          </ac:spMkLst>
        </pc:spChg>
        <pc:spChg chg="add mod">
          <ac:chgData name="Wasan Alkaltham" userId="66892628e8126b54" providerId="LiveId" clId="{EC468F96-23D0-441E-99D9-F383B9EB1F8F}" dt="2025-02-13T08:18:00.318" v="553" actId="1076"/>
          <ac:spMkLst>
            <pc:docMk/>
            <pc:sldMk cId="3947533119" sldId="2145709144"/>
            <ac:spMk id="19" creationId="{5CEA30C2-282C-509B-7101-CCC348A93BF0}"/>
          </ac:spMkLst>
        </pc:spChg>
      </pc:sldChg>
      <pc:sldChg chg="addSp delSp modSp mod">
        <pc:chgData name="Wasan Alkaltham" userId="66892628e8126b54" providerId="LiveId" clId="{EC468F96-23D0-441E-99D9-F383B9EB1F8F}" dt="2025-02-16T10:33:05.833" v="2915" actId="20577"/>
        <pc:sldMkLst>
          <pc:docMk/>
          <pc:sldMk cId="186662495" sldId="2145709145"/>
        </pc:sldMkLst>
        <pc:spChg chg="add del mod">
          <ac:chgData name="Wasan Alkaltham" userId="66892628e8126b54" providerId="LiveId" clId="{EC468F96-23D0-441E-99D9-F383B9EB1F8F}" dt="2025-02-16T10:32:59.139" v="2902" actId="478"/>
          <ac:spMkLst>
            <pc:docMk/>
            <pc:sldMk cId="186662495" sldId="2145709145"/>
            <ac:spMk id="2" creationId="{0EB62D87-7605-DC6B-38B8-E83AF6401752}"/>
          </ac:spMkLst>
        </pc:spChg>
        <pc:spChg chg="mod">
          <ac:chgData name="Wasan Alkaltham" userId="66892628e8126b54" providerId="LiveId" clId="{EC468F96-23D0-441E-99D9-F383B9EB1F8F}" dt="2025-02-13T08:18:57.226" v="558"/>
          <ac:spMkLst>
            <pc:docMk/>
            <pc:sldMk cId="186662495" sldId="2145709145"/>
            <ac:spMk id="6" creationId="{4152DD52-23BD-C266-7BB5-1FEF5D407B9F}"/>
          </ac:spMkLst>
        </pc:spChg>
        <pc:spChg chg="mod">
          <ac:chgData name="Wasan Alkaltham" userId="66892628e8126b54" providerId="LiveId" clId="{EC468F96-23D0-441E-99D9-F383B9EB1F8F}" dt="2025-02-16T10:33:05.833" v="2915" actId="20577"/>
          <ac:spMkLst>
            <pc:docMk/>
            <pc:sldMk cId="186662495" sldId="2145709145"/>
            <ac:spMk id="7" creationId="{CDD21EA1-0A33-B019-406F-8547828C5066}"/>
          </ac:spMkLst>
        </pc:spChg>
        <pc:spChg chg="mod">
          <ac:chgData name="Wasan Alkaltham" userId="66892628e8126b54" providerId="LiveId" clId="{EC468F96-23D0-441E-99D9-F383B9EB1F8F}" dt="2025-02-16T10:33:01.274" v="2903"/>
          <ac:spMkLst>
            <pc:docMk/>
            <pc:sldMk cId="186662495" sldId="2145709145"/>
            <ac:spMk id="8" creationId="{6A608319-6F2F-DE16-FD2E-F6FA20ED4161}"/>
          </ac:spMkLst>
        </pc:spChg>
        <pc:spChg chg="add mod">
          <ac:chgData name="Wasan Alkaltham" userId="66892628e8126b54" providerId="LiveId" clId="{EC468F96-23D0-441E-99D9-F383B9EB1F8F}" dt="2025-02-13T08:19:10.480" v="560" actId="1076"/>
          <ac:spMkLst>
            <pc:docMk/>
            <pc:sldMk cId="186662495" sldId="2145709145"/>
            <ac:spMk id="9" creationId="{470029AB-CFF2-C84F-3477-05236DE9FF2C}"/>
          </ac:spMkLst>
        </pc:spChg>
      </pc:sldChg>
      <pc:sldChg chg="addSp delSp modSp mod">
        <pc:chgData name="Wasan Alkaltham" userId="66892628e8126b54" providerId="LiveId" clId="{EC468F96-23D0-441E-99D9-F383B9EB1F8F}" dt="2025-02-16T10:33:16.755" v="2928" actId="20577"/>
        <pc:sldMkLst>
          <pc:docMk/>
          <pc:sldMk cId="2926321664" sldId="2145709146"/>
        </pc:sldMkLst>
        <pc:spChg chg="mod">
          <ac:chgData name="Wasan Alkaltham" userId="66892628e8126b54" providerId="LiveId" clId="{EC468F96-23D0-441E-99D9-F383B9EB1F8F}" dt="2025-02-13T08:27:14.622" v="722" actId="20577"/>
          <ac:spMkLst>
            <pc:docMk/>
            <pc:sldMk cId="2926321664" sldId="2145709146"/>
            <ac:spMk id="3" creationId="{A95FFC5C-1B57-8850-D596-03FAB4B6A3A3}"/>
          </ac:spMkLst>
        </pc:spChg>
        <pc:spChg chg="add mod">
          <ac:chgData name="Wasan Alkaltham" userId="66892628e8126b54" providerId="LiveId" clId="{EC468F96-23D0-441E-99D9-F383B9EB1F8F}" dt="2025-02-13T08:25:32.814" v="658" actId="1076"/>
          <ac:spMkLst>
            <pc:docMk/>
            <pc:sldMk cId="2926321664" sldId="2145709146"/>
            <ac:spMk id="6" creationId="{5C3DF06C-6B30-03BE-994B-5FE8F423AE61}"/>
          </ac:spMkLst>
        </pc:spChg>
        <pc:spChg chg="mod">
          <ac:chgData name="Wasan Alkaltham" userId="66892628e8126b54" providerId="LiveId" clId="{EC468F96-23D0-441E-99D9-F383B9EB1F8F}" dt="2025-02-16T10:33:16.755" v="2928" actId="20577"/>
          <ac:spMkLst>
            <pc:docMk/>
            <pc:sldMk cId="2926321664" sldId="2145709146"/>
            <ac:spMk id="7" creationId="{4BF508F7-5B90-8D5F-A4C6-1320D2CF4540}"/>
          </ac:spMkLst>
        </pc:spChg>
        <pc:spChg chg="mod">
          <ac:chgData name="Wasan Alkaltham" userId="66892628e8126b54" providerId="LiveId" clId="{EC468F96-23D0-441E-99D9-F383B9EB1F8F}" dt="2025-02-16T10:33:11.712" v="2916"/>
          <ac:spMkLst>
            <pc:docMk/>
            <pc:sldMk cId="2926321664" sldId="2145709146"/>
            <ac:spMk id="8" creationId="{E8D756BB-E457-2E08-8B78-C9C6FF92BD9A}"/>
          </ac:spMkLst>
        </pc:spChg>
        <pc:spChg chg="add del mod">
          <ac:chgData name="Wasan Alkaltham" userId="66892628e8126b54" providerId="LiveId" clId="{EC468F96-23D0-441E-99D9-F383B9EB1F8F}" dt="2025-02-16T10:06:18.483" v="2525" actId="478"/>
          <ac:spMkLst>
            <pc:docMk/>
            <pc:sldMk cId="2926321664" sldId="2145709146"/>
            <ac:spMk id="22" creationId="{A37299FE-8D1C-CAD3-AC9F-EA9B175D3615}"/>
          </ac:spMkLst>
        </pc:spChg>
        <pc:spChg chg="mod">
          <ac:chgData name="Wasan Alkaltham" userId="66892628e8126b54" providerId="LiveId" clId="{EC468F96-23D0-441E-99D9-F383B9EB1F8F}" dt="2025-02-13T08:25:27.370" v="657"/>
          <ac:spMkLst>
            <pc:docMk/>
            <pc:sldMk cId="2926321664" sldId="2145709146"/>
            <ac:spMk id="31" creationId="{1F634018-EC8F-ADB4-3BC7-D2B89B7279A8}"/>
          </ac:spMkLst>
        </pc:spChg>
        <pc:spChg chg="add mod">
          <ac:chgData name="Wasan Alkaltham" userId="66892628e8126b54" providerId="LiveId" clId="{EC468F96-23D0-441E-99D9-F383B9EB1F8F}" dt="2025-02-13T08:25:39.644" v="661" actId="20577"/>
          <ac:spMkLst>
            <pc:docMk/>
            <pc:sldMk cId="2926321664" sldId="2145709146"/>
            <ac:spMk id="32" creationId="{577CA90B-63BF-1A28-966A-AB464C91932F}"/>
          </ac:spMkLst>
        </pc:spChg>
        <pc:spChg chg="add mod">
          <ac:chgData name="Wasan Alkaltham" userId="66892628e8126b54" providerId="LiveId" clId="{EC468F96-23D0-441E-99D9-F383B9EB1F8F}" dt="2025-02-13T08:26:01.444" v="673" actId="20577"/>
          <ac:spMkLst>
            <pc:docMk/>
            <pc:sldMk cId="2926321664" sldId="2145709146"/>
            <ac:spMk id="33" creationId="{215F334F-389C-1D67-00A5-18F5DD8B1413}"/>
          </ac:spMkLst>
        </pc:spChg>
        <pc:spChg chg="add mod">
          <ac:chgData name="Wasan Alkaltham" userId="66892628e8126b54" providerId="LiveId" clId="{EC468F96-23D0-441E-99D9-F383B9EB1F8F}" dt="2025-02-13T08:26:13.654" v="674" actId="20577"/>
          <ac:spMkLst>
            <pc:docMk/>
            <pc:sldMk cId="2926321664" sldId="2145709146"/>
            <ac:spMk id="34" creationId="{C594723B-690C-F7A8-909D-0B16E3DCFE53}"/>
          </ac:spMkLst>
        </pc:spChg>
        <pc:spChg chg="add mod">
          <ac:chgData name="Wasan Alkaltham" userId="66892628e8126b54" providerId="LiveId" clId="{EC468F96-23D0-441E-99D9-F383B9EB1F8F}" dt="2025-02-13T08:26:18.601" v="677" actId="20577"/>
          <ac:spMkLst>
            <pc:docMk/>
            <pc:sldMk cId="2926321664" sldId="2145709146"/>
            <ac:spMk id="35" creationId="{28E6546C-C49B-ACFA-5B5F-A1DE00C1A006}"/>
          </ac:spMkLst>
        </pc:spChg>
        <pc:spChg chg="add mod">
          <ac:chgData name="Wasan Alkaltham" userId="66892628e8126b54" providerId="LiveId" clId="{EC468F96-23D0-441E-99D9-F383B9EB1F8F}" dt="2025-02-13T08:26:29.051" v="686" actId="20577"/>
          <ac:spMkLst>
            <pc:docMk/>
            <pc:sldMk cId="2926321664" sldId="2145709146"/>
            <ac:spMk id="36" creationId="{185F426E-9F17-9E80-7521-CE8E5AD8B1A3}"/>
          </ac:spMkLst>
        </pc:spChg>
        <pc:spChg chg="add mod">
          <ac:chgData name="Wasan Alkaltham" userId="66892628e8126b54" providerId="LiveId" clId="{EC468F96-23D0-441E-99D9-F383B9EB1F8F}" dt="2025-02-13T08:26:36.678" v="689" actId="20577"/>
          <ac:spMkLst>
            <pc:docMk/>
            <pc:sldMk cId="2926321664" sldId="2145709146"/>
            <ac:spMk id="37" creationId="{3C3F034B-F349-6F56-B148-61EE8553EE5B}"/>
          </ac:spMkLst>
        </pc:spChg>
      </pc:sldChg>
      <pc:sldChg chg="addSp delSp modSp mod">
        <pc:chgData name="Wasan Alkaltham" userId="66892628e8126b54" providerId="LiveId" clId="{EC468F96-23D0-441E-99D9-F383B9EB1F8F}" dt="2025-02-16T10:34:41.804" v="2958" actId="20577"/>
        <pc:sldMkLst>
          <pc:docMk/>
          <pc:sldMk cId="332849086" sldId="2145709147"/>
        </pc:sldMkLst>
        <pc:spChg chg="mod">
          <ac:chgData name="Wasan Alkaltham" userId="66892628e8126b54" providerId="LiveId" clId="{EC468F96-23D0-441E-99D9-F383B9EB1F8F}" dt="2025-02-16T10:34:41.804" v="2958" actId="20577"/>
          <ac:spMkLst>
            <pc:docMk/>
            <pc:sldMk cId="332849086" sldId="2145709147"/>
            <ac:spMk id="7" creationId="{2180768C-59B5-A65E-7618-739BD8D62178}"/>
          </ac:spMkLst>
        </pc:spChg>
        <pc:spChg chg="mod">
          <ac:chgData name="Wasan Alkaltham" userId="66892628e8126b54" providerId="LiveId" clId="{EC468F96-23D0-441E-99D9-F383B9EB1F8F}" dt="2025-02-16T10:34:35.442" v="2948" actId="20577"/>
          <ac:spMkLst>
            <pc:docMk/>
            <pc:sldMk cId="332849086" sldId="2145709147"/>
            <ac:spMk id="8" creationId="{BA12CF6E-5EBF-8BA9-1BCD-E9D10CB7BBA0}"/>
          </ac:spMkLst>
        </pc:spChg>
        <pc:spChg chg="mod">
          <ac:chgData name="Wasan Alkaltham" userId="66892628e8126b54" providerId="LiveId" clId="{EC468F96-23D0-441E-99D9-F383B9EB1F8F}" dt="2025-02-13T08:29:21.109" v="750"/>
          <ac:spMkLst>
            <pc:docMk/>
            <pc:sldMk cId="332849086" sldId="2145709147"/>
            <ac:spMk id="12" creationId="{CB7EF54A-9F2D-AA00-7FA0-174EE19E9BB9}"/>
          </ac:spMkLst>
        </pc:spChg>
        <pc:spChg chg="add mod">
          <ac:chgData name="Wasan Alkaltham" userId="66892628e8126b54" providerId="LiveId" clId="{EC468F96-23D0-441E-99D9-F383B9EB1F8F}" dt="2025-02-13T08:31:30.628" v="771" actId="1076"/>
          <ac:spMkLst>
            <pc:docMk/>
            <pc:sldMk cId="332849086" sldId="2145709147"/>
            <ac:spMk id="13" creationId="{8A771F48-881B-C95F-F86F-DB57910CCCAF}"/>
          </ac:spMkLst>
        </pc:spChg>
        <pc:spChg chg="add mod">
          <ac:chgData name="Wasan Alkaltham" userId="66892628e8126b54" providerId="LiveId" clId="{EC468F96-23D0-441E-99D9-F383B9EB1F8F}" dt="2025-02-13T08:29:39.821" v="755" actId="20577"/>
          <ac:spMkLst>
            <pc:docMk/>
            <pc:sldMk cId="332849086" sldId="2145709147"/>
            <ac:spMk id="14" creationId="{36138177-E5BD-B4F5-1A58-9B96D81C2F3F}"/>
          </ac:spMkLst>
        </pc:spChg>
        <pc:spChg chg="add mod">
          <ac:chgData name="Wasan Alkaltham" userId="66892628e8126b54" providerId="LiveId" clId="{EC468F96-23D0-441E-99D9-F383B9EB1F8F}" dt="2025-02-13T08:29:47.853" v="758" actId="20577"/>
          <ac:spMkLst>
            <pc:docMk/>
            <pc:sldMk cId="332849086" sldId="2145709147"/>
            <ac:spMk id="15" creationId="{1A7F9B28-E735-A52F-59F8-5D722EEF574B}"/>
          </ac:spMkLst>
        </pc:spChg>
      </pc:sldChg>
      <pc:sldChg chg="addSp delSp modSp mod">
        <pc:chgData name="Wasan Alkaltham" userId="66892628e8126b54" providerId="LiveId" clId="{EC468F96-23D0-441E-99D9-F383B9EB1F8F}" dt="2025-02-16T10:34:58.116" v="2977" actId="20577"/>
        <pc:sldMkLst>
          <pc:docMk/>
          <pc:sldMk cId="2129961898" sldId="2145709148"/>
        </pc:sldMkLst>
        <pc:spChg chg="mod">
          <ac:chgData name="Wasan Alkaltham" userId="66892628e8126b54" providerId="LiveId" clId="{EC468F96-23D0-441E-99D9-F383B9EB1F8F}" dt="2025-02-13T08:32:54.886" v="833" actId="20577"/>
          <ac:spMkLst>
            <pc:docMk/>
            <pc:sldMk cId="2129961898" sldId="2145709148"/>
            <ac:spMk id="3" creationId="{D257708A-44D8-7099-D1E7-3181BFF9353C}"/>
          </ac:spMkLst>
        </pc:spChg>
        <pc:spChg chg="mod">
          <ac:chgData name="Wasan Alkaltham" userId="66892628e8126b54" providerId="LiveId" clId="{EC468F96-23D0-441E-99D9-F383B9EB1F8F}" dt="2025-02-16T10:34:48.538" v="2968" actId="20577"/>
          <ac:spMkLst>
            <pc:docMk/>
            <pc:sldMk cId="2129961898" sldId="2145709148"/>
            <ac:spMk id="7" creationId="{C4DE71F3-FAB7-2EC0-14BB-AC9DAE5DFB39}"/>
          </ac:spMkLst>
        </pc:spChg>
        <pc:spChg chg="mod">
          <ac:chgData name="Wasan Alkaltham" userId="66892628e8126b54" providerId="LiveId" clId="{EC468F96-23D0-441E-99D9-F383B9EB1F8F}" dt="2025-02-16T10:34:58.116" v="2977" actId="20577"/>
          <ac:spMkLst>
            <pc:docMk/>
            <pc:sldMk cId="2129961898" sldId="2145709148"/>
            <ac:spMk id="8" creationId="{C43DBB49-F3F9-E3AB-350C-2C86AA2CC080}"/>
          </ac:spMkLst>
        </pc:spChg>
        <pc:spChg chg="mod">
          <ac:chgData name="Wasan Alkaltham" userId="66892628e8126b54" providerId="LiveId" clId="{EC468F96-23D0-441E-99D9-F383B9EB1F8F}" dt="2025-02-13T08:31:34.268" v="773"/>
          <ac:spMkLst>
            <pc:docMk/>
            <pc:sldMk cId="2129961898" sldId="2145709148"/>
            <ac:spMk id="10" creationId="{6B2FFDFF-E4E6-3B3B-9BA6-3B12B2128CF5}"/>
          </ac:spMkLst>
        </pc:spChg>
        <pc:spChg chg="add mod">
          <ac:chgData name="Wasan Alkaltham" userId="66892628e8126b54" providerId="LiveId" clId="{EC468F96-23D0-441E-99D9-F383B9EB1F8F}" dt="2025-02-13T08:31:42.820" v="775" actId="1076"/>
          <ac:spMkLst>
            <pc:docMk/>
            <pc:sldMk cId="2129961898" sldId="2145709148"/>
            <ac:spMk id="11" creationId="{0BAB2C18-8669-2278-8978-EF00C056E0AD}"/>
          </ac:spMkLst>
        </pc:spChg>
        <pc:spChg chg="add mod">
          <ac:chgData name="Wasan Alkaltham" userId="66892628e8126b54" providerId="LiveId" clId="{EC468F96-23D0-441E-99D9-F383B9EB1F8F}" dt="2025-02-13T08:31:50.742" v="778" actId="20577"/>
          <ac:spMkLst>
            <pc:docMk/>
            <pc:sldMk cId="2129961898" sldId="2145709148"/>
            <ac:spMk id="12" creationId="{C95932FA-E7E7-2E32-8A71-6BB6DA1814CD}"/>
          </ac:spMkLst>
        </pc:spChg>
      </pc:sldChg>
      <pc:sldChg chg="addSp delSp modSp mod">
        <pc:chgData name="Wasan Alkaltham" userId="66892628e8126b54" providerId="LiveId" clId="{EC468F96-23D0-441E-99D9-F383B9EB1F8F}" dt="2025-02-17T08:17:45.695" v="3267" actId="478"/>
        <pc:sldMkLst>
          <pc:docMk/>
          <pc:sldMk cId="4267157817" sldId="2145709151"/>
        </pc:sldMkLst>
        <pc:spChg chg="add del mod">
          <ac:chgData name="Wasan Alkaltham" userId="66892628e8126b54" providerId="LiveId" clId="{EC468F96-23D0-441E-99D9-F383B9EB1F8F}" dt="2025-02-17T08:17:45.695" v="3267" actId="478"/>
          <ac:spMkLst>
            <pc:docMk/>
            <pc:sldMk cId="4267157817" sldId="2145709151"/>
            <ac:spMk id="4" creationId="{3F4248A2-336B-0BCA-8BD7-DF6F65C39AC8}"/>
          </ac:spMkLst>
        </pc:spChg>
        <pc:spChg chg="del">
          <ac:chgData name="Wasan Alkaltham" userId="66892628e8126b54" providerId="LiveId" clId="{EC468F96-23D0-441E-99D9-F383B9EB1F8F}" dt="2025-02-17T08:17:44.488" v="3266" actId="478"/>
          <ac:spMkLst>
            <pc:docMk/>
            <pc:sldMk cId="4267157817" sldId="2145709151"/>
            <ac:spMk id="7" creationId="{4180BC89-7183-C827-F7E4-6AFE99FFD4E2}"/>
          </ac:spMkLst>
        </pc:spChg>
        <pc:spChg chg="mod">
          <ac:chgData name="Wasan Alkaltham" userId="66892628e8126b54" providerId="LiveId" clId="{EC468F96-23D0-441E-99D9-F383B9EB1F8F}" dt="2025-02-17T08:17:41.393" v="3265" actId="20577"/>
          <ac:spMkLst>
            <pc:docMk/>
            <pc:sldMk cId="4267157817" sldId="2145709151"/>
            <ac:spMk id="8" creationId="{ED0119E7-AC09-7C22-03ED-EA89B6EE8259}"/>
          </ac:spMkLst>
        </pc:spChg>
        <pc:spChg chg="mod">
          <ac:chgData name="Wasan Alkaltham" userId="66892628e8126b54" providerId="LiveId" clId="{EC468F96-23D0-441E-99D9-F383B9EB1F8F}" dt="2025-02-13T07:25:12.021" v="100" actId="1076"/>
          <ac:spMkLst>
            <pc:docMk/>
            <pc:sldMk cId="4267157817" sldId="2145709151"/>
            <ac:spMk id="11" creationId="{C3F67B83-F28B-9087-14C9-25248384DAF3}"/>
          </ac:spMkLst>
        </pc:spChg>
        <pc:picChg chg="mod">
          <ac:chgData name="Wasan Alkaltham" userId="66892628e8126b54" providerId="LiveId" clId="{EC468F96-23D0-441E-99D9-F383B9EB1F8F}" dt="2025-02-13T07:25:06.795" v="98" actId="1076"/>
          <ac:picMkLst>
            <pc:docMk/>
            <pc:sldMk cId="4267157817" sldId="2145709151"/>
            <ac:picMk id="35" creationId="{DF6C530E-4F49-DF80-041C-3A833B162291}"/>
          </ac:picMkLst>
        </pc:picChg>
      </pc:sldChg>
      <pc:sldChg chg="add del">
        <pc:chgData name="Wasan Alkaltham" userId="66892628e8126b54" providerId="LiveId" clId="{EC468F96-23D0-441E-99D9-F383B9EB1F8F}" dt="2025-02-16T07:26:40.531" v="2398" actId="47"/>
        <pc:sldMkLst>
          <pc:docMk/>
          <pc:sldMk cId="2756320019" sldId="2145709156"/>
        </pc:sldMkLst>
      </pc:sldChg>
      <pc:sldChg chg="add del ord">
        <pc:chgData name="Wasan Alkaltham" userId="66892628e8126b54" providerId="LiveId" clId="{EC468F96-23D0-441E-99D9-F383B9EB1F8F}" dt="2025-02-16T07:27:41.431" v="2416"/>
        <pc:sldMkLst>
          <pc:docMk/>
          <pc:sldMk cId="1184940170" sldId="2145709184"/>
        </pc:sldMkLst>
      </pc:sldChg>
      <pc:sldChg chg="addSp delSp modSp mod">
        <pc:chgData name="Wasan Alkaltham" userId="66892628e8126b54" providerId="LiveId" clId="{EC468F96-23D0-441E-99D9-F383B9EB1F8F}" dt="2025-02-16T10:36:06.927" v="3042" actId="20577"/>
        <pc:sldMkLst>
          <pc:docMk/>
          <pc:sldMk cId="3819390841" sldId="2145709186"/>
        </pc:sldMkLst>
        <pc:spChg chg="mod">
          <ac:chgData name="Wasan Alkaltham" userId="66892628e8126b54" providerId="LiveId" clId="{EC468F96-23D0-441E-99D9-F383B9EB1F8F}" dt="2025-02-16T10:36:06.927" v="3042" actId="20577"/>
          <ac:spMkLst>
            <pc:docMk/>
            <pc:sldMk cId="3819390841" sldId="2145709186"/>
            <ac:spMk id="7" creationId="{BD6AC0F7-7C61-B07E-DC1F-5176E88AAC6F}"/>
          </ac:spMkLst>
        </pc:spChg>
        <pc:spChg chg="mod">
          <ac:chgData name="Wasan Alkaltham" userId="66892628e8126b54" providerId="LiveId" clId="{EC468F96-23D0-441E-99D9-F383B9EB1F8F}" dt="2025-02-16T10:36:00.896" v="3030"/>
          <ac:spMkLst>
            <pc:docMk/>
            <pc:sldMk cId="3819390841" sldId="2145709186"/>
            <ac:spMk id="8" creationId="{ACB1712E-87F8-5F80-B00F-AD87FF99263C}"/>
          </ac:spMkLst>
        </pc:spChg>
        <pc:spChg chg="mod">
          <ac:chgData name="Wasan Alkaltham" userId="66892628e8126b54" providerId="LiveId" clId="{EC468F96-23D0-441E-99D9-F383B9EB1F8F}" dt="2025-02-13T09:05:56.955" v="1200"/>
          <ac:spMkLst>
            <pc:docMk/>
            <pc:sldMk cId="3819390841" sldId="2145709186"/>
            <ac:spMk id="14" creationId="{808335EC-CE06-CEB0-791C-A96ECC21B235}"/>
          </ac:spMkLst>
        </pc:spChg>
        <pc:spChg chg="add mod">
          <ac:chgData name="Wasan Alkaltham" userId="66892628e8126b54" providerId="LiveId" clId="{EC468F96-23D0-441E-99D9-F383B9EB1F8F}" dt="2025-02-13T09:06:10.796" v="1202" actId="1076"/>
          <ac:spMkLst>
            <pc:docMk/>
            <pc:sldMk cId="3819390841" sldId="2145709186"/>
            <ac:spMk id="15" creationId="{5AA32973-8600-A218-BA40-E6A2CA03C350}"/>
          </ac:spMkLst>
        </pc:spChg>
        <pc:spChg chg="add mod">
          <ac:chgData name="Wasan Alkaltham" userId="66892628e8126b54" providerId="LiveId" clId="{EC468F96-23D0-441E-99D9-F383B9EB1F8F}" dt="2025-02-13T09:06:25.829" v="1208" actId="20577"/>
          <ac:spMkLst>
            <pc:docMk/>
            <pc:sldMk cId="3819390841" sldId="2145709186"/>
            <ac:spMk id="16" creationId="{1EC2FBBC-39DA-8343-D31D-22EC1AB0DE1F}"/>
          </ac:spMkLst>
        </pc:spChg>
        <pc:spChg chg="add mod">
          <ac:chgData name="Wasan Alkaltham" userId="66892628e8126b54" providerId="LiveId" clId="{EC468F96-23D0-441E-99D9-F383B9EB1F8F}" dt="2025-02-13T09:06:28.329" v="1209" actId="20577"/>
          <ac:spMkLst>
            <pc:docMk/>
            <pc:sldMk cId="3819390841" sldId="2145709186"/>
            <ac:spMk id="17" creationId="{B214D82A-80E1-4EEF-44DF-7905F97A8F55}"/>
          </ac:spMkLst>
        </pc:spChg>
      </pc:sldChg>
      <pc:sldChg chg="addSp delSp modSp mod">
        <pc:chgData name="Wasan Alkaltham" userId="66892628e8126b54" providerId="LiveId" clId="{EC468F96-23D0-441E-99D9-F383B9EB1F8F}" dt="2025-02-16T10:36:16.140" v="3054" actId="20577"/>
        <pc:sldMkLst>
          <pc:docMk/>
          <pc:sldMk cId="2671352375" sldId="2145709187"/>
        </pc:sldMkLst>
        <pc:spChg chg="mod">
          <ac:chgData name="Wasan Alkaltham" userId="66892628e8126b54" providerId="LiveId" clId="{EC468F96-23D0-441E-99D9-F383B9EB1F8F}" dt="2025-02-16T10:36:16.140" v="3054" actId="20577"/>
          <ac:spMkLst>
            <pc:docMk/>
            <pc:sldMk cId="2671352375" sldId="2145709187"/>
            <ac:spMk id="7" creationId="{7E9AEBF0-019A-EE5A-F6B4-31D37E01BD08}"/>
          </ac:spMkLst>
        </pc:spChg>
        <pc:spChg chg="mod">
          <ac:chgData name="Wasan Alkaltham" userId="66892628e8126b54" providerId="LiveId" clId="{EC468F96-23D0-441E-99D9-F383B9EB1F8F}" dt="2025-02-16T10:36:13.048" v="3044"/>
          <ac:spMkLst>
            <pc:docMk/>
            <pc:sldMk cId="2671352375" sldId="2145709187"/>
            <ac:spMk id="8" creationId="{CC3C8A7A-D874-375D-3396-D0A41B4AA438}"/>
          </ac:spMkLst>
        </pc:spChg>
        <pc:spChg chg="mod">
          <ac:chgData name="Wasan Alkaltham" userId="66892628e8126b54" providerId="LiveId" clId="{EC468F96-23D0-441E-99D9-F383B9EB1F8F}" dt="2025-02-13T09:08:01.314" v="1235"/>
          <ac:spMkLst>
            <pc:docMk/>
            <pc:sldMk cId="2671352375" sldId="2145709187"/>
            <ac:spMk id="13" creationId="{6D742297-A1CB-7EE0-3581-5E35D9C5A331}"/>
          </ac:spMkLst>
        </pc:spChg>
        <pc:spChg chg="add mod">
          <ac:chgData name="Wasan Alkaltham" userId="66892628e8126b54" providerId="LiveId" clId="{EC468F96-23D0-441E-99D9-F383B9EB1F8F}" dt="2025-02-13T09:14:00.943" v="1304" actId="1076"/>
          <ac:spMkLst>
            <pc:docMk/>
            <pc:sldMk cId="2671352375" sldId="2145709187"/>
            <ac:spMk id="14" creationId="{4A6B8109-ADBF-1F7B-B269-78268A677066}"/>
          </ac:spMkLst>
        </pc:spChg>
        <pc:spChg chg="add mod">
          <ac:chgData name="Wasan Alkaltham" userId="66892628e8126b54" providerId="LiveId" clId="{EC468F96-23D0-441E-99D9-F383B9EB1F8F}" dt="2025-02-13T09:14:12.137" v="1310" actId="20577"/>
          <ac:spMkLst>
            <pc:docMk/>
            <pc:sldMk cId="2671352375" sldId="2145709187"/>
            <ac:spMk id="15" creationId="{6F7C2175-1292-53A1-CAA0-54D78B0DF1BE}"/>
          </ac:spMkLst>
        </pc:spChg>
        <pc:spChg chg="add mod">
          <ac:chgData name="Wasan Alkaltham" userId="66892628e8126b54" providerId="LiveId" clId="{EC468F96-23D0-441E-99D9-F383B9EB1F8F}" dt="2025-02-13T09:14:13.660" v="1311" actId="20577"/>
          <ac:spMkLst>
            <pc:docMk/>
            <pc:sldMk cId="2671352375" sldId="2145709187"/>
            <ac:spMk id="17" creationId="{6D7E7D75-4CB9-F384-0CD8-DB6F4C9134A8}"/>
          </ac:spMkLst>
        </pc:spChg>
      </pc:sldChg>
      <pc:sldChg chg="addSp delSp modSp mod">
        <pc:chgData name="Wasan Alkaltham" userId="66892628e8126b54" providerId="LiveId" clId="{EC468F96-23D0-441E-99D9-F383B9EB1F8F}" dt="2025-02-16T10:36:26.859" v="3066" actId="20577"/>
        <pc:sldMkLst>
          <pc:docMk/>
          <pc:sldMk cId="1298935027" sldId="2145709188"/>
        </pc:sldMkLst>
        <pc:spChg chg="mod">
          <ac:chgData name="Wasan Alkaltham" userId="66892628e8126b54" providerId="LiveId" clId="{EC468F96-23D0-441E-99D9-F383B9EB1F8F}" dt="2025-02-16T10:36:26.859" v="3066" actId="20577"/>
          <ac:spMkLst>
            <pc:docMk/>
            <pc:sldMk cId="1298935027" sldId="2145709188"/>
            <ac:spMk id="7" creationId="{05A66242-5358-38CF-5EA5-20A84D805D0D}"/>
          </ac:spMkLst>
        </pc:spChg>
        <pc:spChg chg="mod">
          <ac:chgData name="Wasan Alkaltham" userId="66892628e8126b54" providerId="LiveId" clId="{EC468F96-23D0-441E-99D9-F383B9EB1F8F}" dt="2025-02-16T10:36:23.265" v="3056"/>
          <ac:spMkLst>
            <pc:docMk/>
            <pc:sldMk cId="1298935027" sldId="2145709188"/>
            <ac:spMk id="8" creationId="{9F05F293-F5E0-2214-DCBF-208085E1FD89}"/>
          </ac:spMkLst>
        </pc:spChg>
        <pc:spChg chg="mod">
          <ac:chgData name="Wasan Alkaltham" userId="66892628e8126b54" providerId="LiveId" clId="{EC468F96-23D0-441E-99D9-F383B9EB1F8F}" dt="2025-02-13T09:08:56.370" v="1259"/>
          <ac:spMkLst>
            <pc:docMk/>
            <pc:sldMk cId="1298935027" sldId="2145709188"/>
            <ac:spMk id="13" creationId="{04F39351-711D-2D73-5676-2B19A678E468}"/>
          </ac:spMkLst>
        </pc:spChg>
        <pc:spChg chg="add mod">
          <ac:chgData name="Wasan Alkaltham" userId="66892628e8126b54" providerId="LiveId" clId="{EC468F96-23D0-441E-99D9-F383B9EB1F8F}" dt="2025-02-13T09:14:18.521" v="1313" actId="1076"/>
          <ac:spMkLst>
            <pc:docMk/>
            <pc:sldMk cId="1298935027" sldId="2145709188"/>
            <ac:spMk id="14" creationId="{A65F50B0-DD4A-9E49-C36D-D020119216F0}"/>
          </ac:spMkLst>
        </pc:spChg>
        <pc:spChg chg="add mod">
          <ac:chgData name="Wasan Alkaltham" userId="66892628e8126b54" providerId="LiveId" clId="{EC468F96-23D0-441E-99D9-F383B9EB1F8F}" dt="2025-02-13T09:14:23.706" v="1316" actId="20577"/>
          <ac:spMkLst>
            <pc:docMk/>
            <pc:sldMk cId="1298935027" sldId="2145709188"/>
            <ac:spMk id="15" creationId="{D0EFED8E-BDDE-2C39-C742-563BAE1B87F9}"/>
          </ac:spMkLst>
        </pc:spChg>
        <pc:spChg chg="add mod">
          <ac:chgData name="Wasan Alkaltham" userId="66892628e8126b54" providerId="LiveId" clId="{EC468F96-23D0-441E-99D9-F383B9EB1F8F}" dt="2025-02-13T09:14:29.638" v="1319" actId="20577"/>
          <ac:spMkLst>
            <pc:docMk/>
            <pc:sldMk cId="1298935027" sldId="2145709188"/>
            <ac:spMk id="16" creationId="{2AE5FB5F-B364-C673-FDAC-5BA1AE8E4B0E}"/>
          </ac:spMkLst>
        </pc:spChg>
      </pc:sldChg>
      <pc:sldChg chg="addSp delSp modSp mod">
        <pc:chgData name="Wasan Alkaltham" userId="66892628e8126b54" providerId="LiveId" clId="{EC468F96-23D0-441E-99D9-F383B9EB1F8F}" dt="2025-02-16T10:35:09.197" v="2987" actId="20577"/>
        <pc:sldMkLst>
          <pc:docMk/>
          <pc:sldMk cId="2047880591" sldId="2145709189"/>
        </pc:sldMkLst>
        <pc:spChg chg="mod">
          <ac:chgData name="Wasan Alkaltham" userId="66892628e8126b54" providerId="LiveId" clId="{EC468F96-23D0-441E-99D9-F383B9EB1F8F}" dt="2025-02-16T10:35:09.197" v="2987" actId="20577"/>
          <ac:spMkLst>
            <pc:docMk/>
            <pc:sldMk cId="2047880591" sldId="2145709189"/>
            <ac:spMk id="7" creationId="{A7BF3CBC-526B-20D6-C89D-2EBFCE60A850}"/>
          </ac:spMkLst>
        </pc:spChg>
        <pc:spChg chg="mod">
          <ac:chgData name="Wasan Alkaltham" userId="66892628e8126b54" providerId="LiveId" clId="{EC468F96-23D0-441E-99D9-F383B9EB1F8F}" dt="2025-02-16T10:35:04.929" v="2986" actId="20577"/>
          <ac:spMkLst>
            <pc:docMk/>
            <pc:sldMk cId="2047880591" sldId="2145709189"/>
            <ac:spMk id="8" creationId="{47CE1955-3A1C-FF17-A3FF-4AAC03BACE96}"/>
          </ac:spMkLst>
        </pc:spChg>
        <pc:spChg chg="mod">
          <ac:chgData name="Wasan Alkaltham" userId="66892628e8126b54" providerId="LiveId" clId="{EC468F96-23D0-441E-99D9-F383B9EB1F8F}" dt="2025-02-13T08:34:12.242" v="857"/>
          <ac:spMkLst>
            <pc:docMk/>
            <pc:sldMk cId="2047880591" sldId="2145709189"/>
            <ac:spMk id="11" creationId="{EE1B0FFC-9526-E6FA-656B-3CB064C42A8B}"/>
          </ac:spMkLst>
        </pc:spChg>
        <pc:spChg chg="add mod">
          <ac:chgData name="Wasan Alkaltham" userId="66892628e8126b54" providerId="LiveId" clId="{EC468F96-23D0-441E-99D9-F383B9EB1F8F}" dt="2025-02-13T08:35:29.188" v="859" actId="1076"/>
          <ac:spMkLst>
            <pc:docMk/>
            <pc:sldMk cId="2047880591" sldId="2145709189"/>
            <ac:spMk id="12" creationId="{2E840CB4-AD17-9EB7-9E0A-2D1EAEA6FDB3}"/>
          </ac:spMkLst>
        </pc:spChg>
        <pc:spChg chg="add mod">
          <ac:chgData name="Wasan Alkaltham" userId="66892628e8126b54" providerId="LiveId" clId="{EC468F96-23D0-441E-99D9-F383B9EB1F8F}" dt="2025-02-13T08:35:40.665" v="866" actId="20577"/>
          <ac:spMkLst>
            <pc:docMk/>
            <pc:sldMk cId="2047880591" sldId="2145709189"/>
            <ac:spMk id="13" creationId="{C711BA1D-C573-868A-9C52-760C3A602086}"/>
          </ac:spMkLst>
        </pc:spChg>
        <pc:spChg chg="add mod">
          <ac:chgData name="Wasan Alkaltham" userId="66892628e8126b54" providerId="LiveId" clId="{EC468F96-23D0-441E-99D9-F383B9EB1F8F}" dt="2025-02-13T08:35:48.394" v="869" actId="20577"/>
          <ac:spMkLst>
            <pc:docMk/>
            <pc:sldMk cId="2047880591" sldId="2145709189"/>
            <ac:spMk id="14" creationId="{CF3C8484-6A4A-347F-D516-A908E5A224D2}"/>
          </ac:spMkLst>
        </pc:spChg>
        <pc:picChg chg="mod">
          <ac:chgData name="Wasan Alkaltham" userId="66892628e8126b54" providerId="LiveId" clId="{EC468F96-23D0-441E-99D9-F383B9EB1F8F}" dt="2025-02-13T08:35:33.363" v="864" actId="1076"/>
          <ac:picMkLst>
            <pc:docMk/>
            <pc:sldMk cId="2047880591" sldId="2145709189"/>
            <ac:picMk id="9" creationId="{E1A5B9A4-9036-B399-6665-C032EC72611B}"/>
          </ac:picMkLst>
        </pc:picChg>
      </pc:sldChg>
      <pc:sldChg chg="addSp delSp modSp mod">
        <pc:chgData name="Wasan Alkaltham" userId="66892628e8126b54" providerId="LiveId" clId="{EC468F96-23D0-441E-99D9-F383B9EB1F8F}" dt="2025-02-16T10:35:24.768" v="3006" actId="20577"/>
        <pc:sldMkLst>
          <pc:docMk/>
          <pc:sldMk cId="3284396541" sldId="2145709190"/>
        </pc:sldMkLst>
        <pc:spChg chg="mod">
          <ac:chgData name="Wasan Alkaltham" userId="66892628e8126b54" providerId="LiveId" clId="{EC468F96-23D0-441E-99D9-F383B9EB1F8F}" dt="2025-02-16T10:35:24.768" v="3006" actId="20577"/>
          <ac:spMkLst>
            <pc:docMk/>
            <pc:sldMk cId="3284396541" sldId="2145709190"/>
            <ac:spMk id="7" creationId="{76E8904A-D4EC-3DC5-57B6-FA42564D4FFE}"/>
          </ac:spMkLst>
        </pc:spChg>
        <pc:spChg chg="mod">
          <ac:chgData name="Wasan Alkaltham" userId="66892628e8126b54" providerId="LiveId" clId="{EC468F96-23D0-441E-99D9-F383B9EB1F8F}" dt="2025-02-16T10:35:16.667" v="2996" actId="20577"/>
          <ac:spMkLst>
            <pc:docMk/>
            <pc:sldMk cId="3284396541" sldId="2145709190"/>
            <ac:spMk id="8" creationId="{57CC7394-DDB5-CE33-04B2-761EC79B2A7F}"/>
          </ac:spMkLst>
        </pc:spChg>
        <pc:spChg chg="mod">
          <ac:chgData name="Wasan Alkaltham" userId="66892628e8126b54" providerId="LiveId" clId="{EC468F96-23D0-441E-99D9-F383B9EB1F8F}" dt="2025-02-13T08:44:00.031" v="873"/>
          <ac:spMkLst>
            <pc:docMk/>
            <pc:sldMk cId="3284396541" sldId="2145709190"/>
            <ac:spMk id="9" creationId="{A6835A7C-9D5F-8CC4-DC90-5660FD6848DE}"/>
          </ac:spMkLst>
        </pc:spChg>
        <pc:spChg chg="add mod">
          <ac:chgData name="Wasan Alkaltham" userId="66892628e8126b54" providerId="LiveId" clId="{EC468F96-23D0-441E-99D9-F383B9EB1F8F}" dt="2025-02-13T08:44:11.078" v="875" actId="1076"/>
          <ac:spMkLst>
            <pc:docMk/>
            <pc:sldMk cId="3284396541" sldId="2145709190"/>
            <ac:spMk id="10" creationId="{8A7828A8-698F-804C-839C-7487137E8D18}"/>
          </ac:spMkLst>
        </pc:spChg>
        <pc:picChg chg="mod">
          <ac:chgData name="Wasan Alkaltham" userId="66892628e8126b54" providerId="LiveId" clId="{EC468F96-23D0-441E-99D9-F383B9EB1F8F}" dt="2025-02-13T07:40:26.181" v="281" actId="1076"/>
          <ac:picMkLst>
            <pc:docMk/>
            <pc:sldMk cId="3284396541" sldId="2145709190"/>
            <ac:picMk id="4" creationId="{41A97475-B7F3-5F7C-31F9-DF29066527F4}"/>
          </ac:picMkLst>
        </pc:picChg>
      </pc:sldChg>
      <pc:sldChg chg="addSp delSp modSp mod">
        <pc:chgData name="Wasan Alkaltham" userId="66892628e8126b54" providerId="LiveId" clId="{EC468F96-23D0-441E-99D9-F383B9EB1F8F}" dt="2025-02-17T08:18:37.703" v="3277" actId="20577"/>
        <pc:sldMkLst>
          <pc:docMk/>
          <pc:sldMk cId="1679399637" sldId="2145709192"/>
        </pc:sldMkLst>
        <pc:spChg chg="add del mod">
          <ac:chgData name="Wasan Alkaltham" userId="66892628e8126b54" providerId="LiveId" clId="{EC468F96-23D0-441E-99D9-F383B9EB1F8F}" dt="2025-02-16T10:35:56.892" v="3029" actId="478"/>
          <ac:spMkLst>
            <pc:docMk/>
            <pc:sldMk cId="1679399637" sldId="2145709192"/>
            <ac:spMk id="6" creationId="{BD3F2FA2-481C-1A59-6B0A-708088633E94}"/>
          </ac:spMkLst>
        </pc:spChg>
        <pc:spChg chg="del">
          <ac:chgData name="Wasan Alkaltham" userId="66892628e8126b54" providerId="LiveId" clId="{EC468F96-23D0-441E-99D9-F383B9EB1F8F}" dt="2025-02-16T10:35:55.477" v="3028" actId="478"/>
          <ac:spMkLst>
            <pc:docMk/>
            <pc:sldMk cId="1679399637" sldId="2145709192"/>
            <ac:spMk id="7" creationId="{97BF2392-4A42-5EEF-7BD7-E64F1BE6832F}"/>
          </ac:spMkLst>
        </pc:spChg>
        <pc:spChg chg="mod">
          <ac:chgData name="Wasan Alkaltham" userId="66892628e8126b54" providerId="LiveId" clId="{EC468F96-23D0-441E-99D9-F383B9EB1F8F}" dt="2025-02-16T10:35:50.839" v="3027" actId="20577"/>
          <ac:spMkLst>
            <pc:docMk/>
            <pc:sldMk cId="1679399637" sldId="2145709192"/>
            <ac:spMk id="8" creationId="{E3CE584E-7BD5-1681-3357-05E03AD3D41B}"/>
          </ac:spMkLst>
        </pc:spChg>
        <pc:spChg chg="add mod">
          <ac:chgData name="Wasan Alkaltham" userId="66892628e8126b54" providerId="LiveId" clId="{EC468F96-23D0-441E-99D9-F383B9EB1F8F}" dt="2025-02-17T08:18:37.703" v="3277" actId="20577"/>
          <ac:spMkLst>
            <pc:docMk/>
            <pc:sldMk cId="1679399637" sldId="2145709192"/>
            <ac:spMk id="9" creationId="{D1480808-495B-5792-82B6-C3B6D598EDEB}"/>
          </ac:spMkLst>
        </pc:spChg>
        <pc:spChg chg="mod">
          <ac:chgData name="Wasan Alkaltham" userId="66892628e8126b54" providerId="LiveId" clId="{EC468F96-23D0-441E-99D9-F383B9EB1F8F}" dt="2025-02-13T09:00:17.808" v="1173" actId="1036"/>
          <ac:spMkLst>
            <pc:docMk/>
            <pc:sldMk cId="1679399637" sldId="2145709192"/>
            <ac:spMk id="16" creationId="{6A0F3624-3535-2E0E-48A2-D81F4691ED80}"/>
          </ac:spMkLst>
        </pc:spChg>
        <pc:spChg chg="add mod">
          <ac:chgData name="Wasan Alkaltham" userId="66892628e8126b54" providerId="LiveId" clId="{EC468F96-23D0-441E-99D9-F383B9EB1F8F}" dt="2025-02-13T08:59:34.209" v="1153" actId="1076"/>
          <ac:spMkLst>
            <pc:docMk/>
            <pc:sldMk cId="1679399637" sldId="2145709192"/>
            <ac:spMk id="17" creationId="{916BFB2C-4C54-C470-CF83-7AA023331BF1}"/>
          </ac:spMkLst>
        </pc:spChg>
        <pc:spChg chg="add mod">
          <ac:chgData name="Wasan Alkaltham" userId="66892628e8126b54" providerId="LiveId" clId="{EC468F96-23D0-441E-99D9-F383B9EB1F8F}" dt="2025-02-13T08:59:55.374" v="1165" actId="20577"/>
          <ac:spMkLst>
            <pc:docMk/>
            <pc:sldMk cId="1679399637" sldId="2145709192"/>
            <ac:spMk id="18" creationId="{3D8D66EA-6F30-EB65-732D-465B56744C91}"/>
          </ac:spMkLst>
        </pc:spChg>
        <pc:spChg chg="add mod">
          <ac:chgData name="Wasan Alkaltham" userId="66892628e8126b54" providerId="LiveId" clId="{EC468F96-23D0-441E-99D9-F383B9EB1F8F}" dt="2025-02-13T09:00:07.258" v="1169" actId="20577"/>
          <ac:spMkLst>
            <pc:docMk/>
            <pc:sldMk cId="1679399637" sldId="2145709192"/>
            <ac:spMk id="19" creationId="{F11E8485-429A-E2A7-2920-6B96EAF3E279}"/>
          </ac:spMkLst>
        </pc:spChg>
        <pc:spChg chg="add mod">
          <ac:chgData name="Wasan Alkaltham" userId="66892628e8126b54" providerId="LiveId" clId="{EC468F96-23D0-441E-99D9-F383B9EB1F8F}" dt="2025-02-13T09:00:09.613" v="1170" actId="20577"/>
          <ac:spMkLst>
            <pc:docMk/>
            <pc:sldMk cId="1679399637" sldId="2145709192"/>
            <ac:spMk id="20" creationId="{585F32BD-8BC4-BD62-225B-613702FCBFA9}"/>
          </ac:spMkLst>
        </pc:spChg>
        <pc:spChg chg="add mod">
          <ac:chgData name="Wasan Alkaltham" userId="66892628e8126b54" providerId="LiveId" clId="{EC468F96-23D0-441E-99D9-F383B9EB1F8F}" dt="2025-02-13T09:00:11.960" v="1171" actId="20577"/>
          <ac:spMkLst>
            <pc:docMk/>
            <pc:sldMk cId="1679399637" sldId="2145709192"/>
            <ac:spMk id="21" creationId="{A10AF12A-FE37-FBF6-7F3F-01B2424FBD61}"/>
          </ac:spMkLst>
        </pc:spChg>
        <pc:spChg chg="add mod">
          <ac:chgData name="Wasan Alkaltham" userId="66892628e8126b54" providerId="LiveId" clId="{EC468F96-23D0-441E-99D9-F383B9EB1F8F}" dt="2025-02-13T09:00:13.751" v="1172" actId="20577"/>
          <ac:spMkLst>
            <pc:docMk/>
            <pc:sldMk cId="1679399637" sldId="2145709192"/>
            <ac:spMk id="22" creationId="{9B2E4526-2374-6DC1-2CB0-5E1B6C56EA81}"/>
          </ac:spMkLst>
        </pc:spChg>
      </pc:sldChg>
      <pc:sldChg chg="addSp delSp modSp mod">
        <pc:chgData name="Wasan Alkaltham" userId="66892628e8126b54" providerId="LiveId" clId="{EC468F96-23D0-441E-99D9-F383B9EB1F8F}" dt="2025-02-16T10:36:39.682" v="3078"/>
        <pc:sldMkLst>
          <pc:docMk/>
          <pc:sldMk cId="45701491" sldId="2145709193"/>
        </pc:sldMkLst>
        <pc:spChg chg="mod">
          <ac:chgData name="Wasan Alkaltham" userId="66892628e8126b54" providerId="LiveId" clId="{EC468F96-23D0-441E-99D9-F383B9EB1F8F}" dt="2025-02-16T10:36:35.774" v="3076" actId="20577"/>
          <ac:spMkLst>
            <pc:docMk/>
            <pc:sldMk cId="45701491" sldId="2145709193"/>
            <ac:spMk id="7" creationId="{B10519C0-078D-5F53-964D-4CB874109FFF}"/>
          </ac:spMkLst>
        </pc:spChg>
        <pc:spChg chg="mod">
          <ac:chgData name="Wasan Alkaltham" userId="66892628e8126b54" providerId="LiveId" clId="{EC468F96-23D0-441E-99D9-F383B9EB1F8F}" dt="2025-02-16T10:36:39.682" v="3078"/>
          <ac:spMkLst>
            <pc:docMk/>
            <pc:sldMk cId="45701491" sldId="2145709193"/>
            <ac:spMk id="8" creationId="{634E6E5C-CC74-1873-22AA-775B59C5DCAE}"/>
          </ac:spMkLst>
        </pc:spChg>
        <pc:spChg chg="mod">
          <ac:chgData name="Wasan Alkaltham" userId="66892628e8126b54" providerId="LiveId" clId="{EC468F96-23D0-441E-99D9-F383B9EB1F8F}" dt="2025-02-13T09:13:43.063" v="1302"/>
          <ac:spMkLst>
            <pc:docMk/>
            <pc:sldMk cId="45701491" sldId="2145709193"/>
            <ac:spMk id="14" creationId="{3C5BC9F1-5623-A4CB-C0BE-ECCA9C58B409}"/>
          </ac:spMkLst>
        </pc:spChg>
        <pc:spChg chg="add mod">
          <ac:chgData name="Wasan Alkaltham" userId="66892628e8126b54" providerId="LiveId" clId="{EC468F96-23D0-441E-99D9-F383B9EB1F8F}" dt="2025-02-13T09:14:34.835" v="1321" actId="1076"/>
          <ac:spMkLst>
            <pc:docMk/>
            <pc:sldMk cId="45701491" sldId="2145709193"/>
            <ac:spMk id="15" creationId="{1F65252E-68D8-AC5E-D140-BA4E3D682867}"/>
          </ac:spMkLst>
        </pc:spChg>
        <pc:spChg chg="add mod">
          <ac:chgData name="Wasan Alkaltham" userId="66892628e8126b54" providerId="LiveId" clId="{EC468F96-23D0-441E-99D9-F383B9EB1F8F}" dt="2025-02-13T09:14:48.391" v="1329" actId="20577"/>
          <ac:spMkLst>
            <pc:docMk/>
            <pc:sldMk cId="45701491" sldId="2145709193"/>
            <ac:spMk id="16" creationId="{3EE222D8-1887-742B-159B-23E878C19D04}"/>
          </ac:spMkLst>
        </pc:spChg>
        <pc:spChg chg="add mod">
          <ac:chgData name="Wasan Alkaltham" userId="66892628e8126b54" providerId="LiveId" clId="{EC468F96-23D0-441E-99D9-F383B9EB1F8F}" dt="2025-02-13T09:14:49.904" v="1330" actId="20577"/>
          <ac:spMkLst>
            <pc:docMk/>
            <pc:sldMk cId="45701491" sldId="2145709193"/>
            <ac:spMk id="17" creationId="{24019E96-F87D-5F4D-4027-66D84A1E988F}"/>
          </ac:spMkLst>
        </pc:spChg>
      </pc:sldChg>
      <pc:sldChg chg="modSp mod">
        <pc:chgData name="Wasan Alkaltham" userId="66892628e8126b54" providerId="LiveId" clId="{EC468F96-23D0-441E-99D9-F383B9EB1F8F}" dt="2025-02-16T10:36:50.654" v="3090" actId="20577"/>
        <pc:sldMkLst>
          <pc:docMk/>
          <pc:sldMk cId="947200528" sldId="2145709194"/>
        </pc:sldMkLst>
        <pc:spChg chg="mod">
          <ac:chgData name="Wasan Alkaltham" userId="66892628e8126b54" providerId="LiveId" clId="{EC468F96-23D0-441E-99D9-F383B9EB1F8F}" dt="2025-02-16T10:09:54.946" v="2746" actId="20577"/>
          <ac:spMkLst>
            <pc:docMk/>
            <pc:sldMk cId="947200528" sldId="2145709194"/>
            <ac:spMk id="3" creationId="{5A2973FB-79F8-2887-9050-C509DCF47725}"/>
          </ac:spMkLst>
        </pc:spChg>
        <pc:spChg chg="mod">
          <ac:chgData name="Wasan Alkaltham" userId="66892628e8126b54" providerId="LiveId" clId="{EC468F96-23D0-441E-99D9-F383B9EB1F8F}" dt="2025-02-16T10:36:50.654" v="3090" actId="20577"/>
          <ac:spMkLst>
            <pc:docMk/>
            <pc:sldMk cId="947200528" sldId="2145709194"/>
            <ac:spMk id="7" creationId="{27C839D1-30D6-4A74-204B-4B17D962BE78}"/>
          </ac:spMkLst>
        </pc:spChg>
        <pc:spChg chg="mod">
          <ac:chgData name="Wasan Alkaltham" userId="66892628e8126b54" providerId="LiveId" clId="{EC468F96-23D0-441E-99D9-F383B9EB1F8F}" dt="2025-02-16T10:36:46.746" v="3080"/>
          <ac:spMkLst>
            <pc:docMk/>
            <pc:sldMk cId="947200528" sldId="2145709194"/>
            <ac:spMk id="8" creationId="{22B26E64-35FF-7BC2-D3D9-E86F97D464DE}"/>
          </ac:spMkLst>
        </pc:spChg>
      </pc:sldChg>
      <pc:sldChg chg="addSp delSp modSp add mod ord">
        <pc:chgData name="Wasan Alkaltham" userId="66892628e8126b54" providerId="LiveId" clId="{EC468F96-23D0-441E-99D9-F383B9EB1F8F}" dt="2025-02-16T10:56:49.643" v="3239" actId="1036"/>
        <pc:sldMkLst>
          <pc:docMk/>
          <pc:sldMk cId="1543852889" sldId="2145709195"/>
        </pc:sldMkLst>
        <pc:spChg chg="mod">
          <ac:chgData name="Wasan Alkaltham" userId="66892628e8126b54" providerId="LiveId" clId="{EC468F96-23D0-441E-99D9-F383B9EB1F8F}" dt="2025-02-16T10:51:34.336" v="3150" actId="12"/>
          <ac:spMkLst>
            <pc:docMk/>
            <pc:sldMk cId="1543852889" sldId="2145709195"/>
            <ac:spMk id="3" creationId="{DA0F3465-26B5-08CB-3C29-C293BC0B40EB}"/>
          </ac:spMkLst>
        </pc:spChg>
        <pc:spChg chg="add del mod">
          <ac:chgData name="Wasan Alkaltham" userId="66892628e8126b54" providerId="LiveId" clId="{EC468F96-23D0-441E-99D9-F383B9EB1F8F}" dt="2025-02-16T10:54:32.050" v="3207"/>
          <ac:spMkLst>
            <pc:docMk/>
            <pc:sldMk cId="1543852889" sldId="2145709195"/>
            <ac:spMk id="5" creationId="{3E00D639-8DAC-4148-9169-DBDB6B55CE3D}"/>
          </ac:spMkLst>
        </pc:spChg>
        <pc:spChg chg="del mod">
          <ac:chgData name="Wasan Alkaltham" userId="66892628e8126b54" providerId="LiveId" clId="{EC468F96-23D0-441E-99D9-F383B9EB1F8F}" dt="2025-02-16T10:55:08.173" v="3213" actId="478"/>
          <ac:spMkLst>
            <pc:docMk/>
            <pc:sldMk cId="1543852889" sldId="2145709195"/>
            <ac:spMk id="7" creationId="{D9693AEE-6A0D-5099-AB14-123BBBACED22}"/>
          </ac:spMkLst>
        </pc:spChg>
        <pc:spChg chg="mod">
          <ac:chgData name="Wasan Alkaltham" userId="66892628e8126b54" providerId="LiveId" clId="{EC468F96-23D0-441E-99D9-F383B9EB1F8F}" dt="2025-02-16T10:50:53.088" v="3142" actId="20577"/>
          <ac:spMkLst>
            <pc:docMk/>
            <pc:sldMk cId="1543852889" sldId="2145709195"/>
            <ac:spMk id="8" creationId="{BEA038CF-1D1A-DF73-2A43-DAC291FBEA63}"/>
          </ac:spMkLst>
        </pc:spChg>
        <pc:spChg chg="add del mod">
          <ac:chgData name="Wasan Alkaltham" userId="66892628e8126b54" providerId="LiveId" clId="{EC468F96-23D0-441E-99D9-F383B9EB1F8F}" dt="2025-02-16T10:52:59.644" v="3168" actId="478"/>
          <ac:spMkLst>
            <pc:docMk/>
            <pc:sldMk cId="1543852889" sldId="2145709195"/>
            <ac:spMk id="9" creationId="{3339F20C-DA41-82C8-6009-0C8AE18EFA0B}"/>
          </ac:spMkLst>
        </pc:spChg>
        <pc:spChg chg="add del mod">
          <ac:chgData name="Wasan Alkaltham" userId="66892628e8126b54" providerId="LiveId" clId="{EC468F96-23D0-441E-99D9-F383B9EB1F8F}" dt="2025-02-16T10:54:32.050" v="3207"/>
          <ac:spMkLst>
            <pc:docMk/>
            <pc:sldMk cId="1543852889" sldId="2145709195"/>
            <ac:spMk id="10" creationId="{83E9EFC3-9E14-A428-1CCC-9769CEB6F4A2}"/>
          </ac:spMkLst>
        </pc:spChg>
        <pc:spChg chg="add del mod">
          <ac:chgData name="Wasan Alkaltham" userId="66892628e8126b54" providerId="LiveId" clId="{EC468F96-23D0-441E-99D9-F383B9EB1F8F}" dt="2025-02-16T10:54:32.050" v="3207"/>
          <ac:spMkLst>
            <pc:docMk/>
            <pc:sldMk cId="1543852889" sldId="2145709195"/>
            <ac:spMk id="11" creationId="{4B797976-1873-FECC-90C0-328D52526784}"/>
          </ac:spMkLst>
        </pc:spChg>
        <pc:spChg chg="mod">
          <ac:chgData name="Wasan Alkaltham" userId="66892628e8126b54" providerId="LiveId" clId="{EC468F96-23D0-441E-99D9-F383B9EB1F8F}" dt="2025-02-16T10:54:32.050" v="3207"/>
          <ac:spMkLst>
            <pc:docMk/>
            <pc:sldMk cId="1543852889" sldId="2145709195"/>
            <ac:spMk id="12" creationId="{71513D9C-731F-8B75-6FF8-455E937FE2F4}"/>
          </ac:spMkLst>
        </pc:spChg>
        <pc:spChg chg="add mod">
          <ac:chgData name="Wasan Alkaltham" userId="66892628e8126b54" providerId="LiveId" clId="{EC468F96-23D0-441E-99D9-F383B9EB1F8F}" dt="2025-02-16T10:54:54.664" v="3210" actId="1076"/>
          <ac:spMkLst>
            <pc:docMk/>
            <pc:sldMk cId="1543852889" sldId="2145709195"/>
            <ac:spMk id="13" creationId="{58646AD6-F213-D203-61F0-AA3F4BDA9B66}"/>
          </ac:spMkLst>
        </pc:spChg>
        <pc:spChg chg="add mod">
          <ac:chgData name="Wasan Alkaltham" userId="66892628e8126b54" providerId="LiveId" clId="{EC468F96-23D0-441E-99D9-F383B9EB1F8F}" dt="2025-02-16T10:55:00.373" v="3211" actId="1076"/>
          <ac:spMkLst>
            <pc:docMk/>
            <pc:sldMk cId="1543852889" sldId="2145709195"/>
            <ac:spMk id="14" creationId="{BF0DC771-0C31-437E-4CCC-CBC58FF7E7D4}"/>
          </ac:spMkLst>
        </pc:spChg>
        <pc:picChg chg="add mod">
          <ac:chgData name="Wasan Alkaltham" userId="66892628e8126b54" providerId="LiveId" clId="{EC468F96-23D0-441E-99D9-F383B9EB1F8F}" dt="2025-02-16T10:56:49.643" v="3239" actId="1036"/>
          <ac:picMkLst>
            <pc:docMk/>
            <pc:sldMk cId="1543852889" sldId="2145709195"/>
            <ac:picMk id="4" creationId="{D580EABE-47FB-5267-6C53-2C92864BBFAF}"/>
          </ac:picMkLst>
        </pc:picChg>
        <pc:picChg chg="del">
          <ac:chgData name="Wasan Alkaltham" userId="66892628e8126b54" providerId="LiveId" clId="{EC468F96-23D0-441E-99D9-F383B9EB1F8F}" dt="2025-02-16T10:51:38.369" v="3151" actId="478"/>
          <ac:picMkLst>
            <pc:docMk/>
            <pc:sldMk cId="1543852889" sldId="2145709195"/>
            <ac:picMk id="6" creationId="{8FEA63F0-7E0B-5096-7124-7C03714919F6}"/>
          </ac:picMkLst>
        </pc:picChg>
      </pc:sldChg>
      <pc:sldChg chg="addSp delSp modSp add del mod ord">
        <pc:chgData name="Wasan Alkaltham" userId="66892628e8126b54" providerId="LiveId" clId="{EC468F96-23D0-441E-99D9-F383B9EB1F8F}" dt="2025-02-16T07:27:09.188" v="2413" actId="47"/>
        <pc:sldMkLst>
          <pc:docMk/>
          <pc:sldMk cId="2473975822" sldId="2145709195"/>
        </pc:sldMkLst>
        <pc:spChg chg="del mod">
          <ac:chgData name="Wasan Alkaltham" userId="66892628e8126b54" providerId="LiveId" clId="{EC468F96-23D0-441E-99D9-F383B9EB1F8F}" dt="2025-02-16T07:20:56.350" v="2325"/>
          <ac:spMkLst>
            <pc:docMk/>
            <pc:sldMk cId="2473975822" sldId="2145709195"/>
            <ac:spMk id="2" creationId="{74D7A5E2-8269-9A74-8B1A-95BEF0F74DB7}"/>
          </ac:spMkLst>
        </pc:spChg>
        <pc:spChg chg="mod">
          <ac:chgData name="Wasan Alkaltham" userId="66892628e8126b54" providerId="LiveId" clId="{EC468F96-23D0-441E-99D9-F383B9EB1F8F}" dt="2025-02-16T07:21:28.810" v="2365" actId="20577"/>
          <ac:spMkLst>
            <pc:docMk/>
            <pc:sldMk cId="2473975822" sldId="2145709195"/>
            <ac:spMk id="3" creationId="{748CD6CE-0114-D050-AF01-12E3A310966A}"/>
          </ac:spMkLst>
        </pc:spChg>
        <pc:spChg chg="add del mod">
          <ac:chgData name="Wasan Alkaltham" userId="66892628e8126b54" providerId="LiveId" clId="{EC468F96-23D0-441E-99D9-F383B9EB1F8F}" dt="2025-02-16T07:20:56.350" v="2325"/>
          <ac:spMkLst>
            <pc:docMk/>
            <pc:sldMk cId="2473975822" sldId="2145709195"/>
            <ac:spMk id="6" creationId="{64B39BC4-5B8B-5784-1889-45BD5FBD24AF}"/>
          </ac:spMkLst>
        </pc:spChg>
        <pc:spChg chg="add mod">
          <ac:chgData name="Wasan Alkaltham" userId="66892628e8126b54" providerId="LiveId" clId="{EC468F96-23D0-441E-99D9-F383B9EB1F8F}" dt="2025-02-16T07:17:03.550" v="2240" actId="14100"/>
          <ac:spMkLst>
            <pc:docMk/>
            <pc:sldMk cId="2473975822" sldId="2145709195"/>
            <ac:spMk id="9" creationId="{2ED648A2-903C-6FC3-B68D-C301325C497B}"/>
          </ac:spMkLst>
        </pc:spChg>
        <pc:spChg chg="add mod">
          <ac:chgData name="Wasan Alkaltham" userId="66892628e8126b54" providerId="LiveId" clId="{EC468F96-23D0-441E-99D9-F383B9EB1F8F}" dt="2025-02-16T07:17:08.533" v="2242" actId="1076"/>
          <ac:spMkLst>
            <pc:docMk/>
            <pc:sldMk cId="2473975822" sldId="2145709195"/>
            <ac:spMk id="10" creationId="{CC3FB186-5FF4-B942-A1E8-C502190B74B8}"/>
          </ac:spMkLst>
        </pc:spChg>
        <pc:spChg chg="add mod">
          <ac:chgData name="Wasan Alkaltham" userId="66892628e8126b54" providerId="LiveId" clId="{EC468F96-23D0-441E-99D9-F383B9EB1F8F}" dt="2025-02-16T07:17:21.885" v="2249" actId="1038"/>
          <ac:spMkLst>
            <pc:docMk/>
            <pc:sldMk cId="2473975822" sldId="2145709195"/>
            <ac:spMk id="11" creationId="{5C6F176A-6C88-2BF6-CE13-5648AD5A9C0B}"/>
          </ac:spMkLst>
        </pc:spChg>
        <pc:spChg chg="add mod">
          <ac:chgData name="Wasan Alkaltham" userId="66892628e8126b54" providerId="LiveId" clId="{EC468F96-23D0-441E-99D9-F383B9EB1F8F}" dt="2025-02-16T07:17:33.588" v="2256" actId="1036"/>
          <ac:spMkLst>
            <pc:docMk/>
            <pc:sldMk cId="2473975822" sldId="2145709195"/>
            <ac:spMk id="12" creationId="{36DCD1A7-6302-4430-87D1-808DF553D333}"/>
          </ac:spMkLst>
        </pc:spChg>
        <pc:spChg chg="add mod">
          <ac:chgData name="Wasan Alkaltham" userId="66892628e8126b54" providerId="LiveId" clId="{EC468F96-23D0-441E-99D9-F383B9EB1F8F}" dt="2025-02-16T07:17:51.176" v="2259" actId="14100"/>
          <ac:spMkLst>
            <pc:docMk/>
            <pc:sldMk cId="2473975822" sldId="2145709195"/>
            <ac:spMk id="13" creationId="{5748419A-931E-FA45-5500-27D3EC9DE943}"/>
          </ac:spMkLst>
        </pc:spChg>
        <pc:spChg chg="add mod">
          <ac:chgData name="Wasan Alkaltham" userId="66892628e8126b54" providerId="LiveId" clId="{EC468F96-23D0-441E-99D9-F383B9EB1F8F}" dt="2025-02-16T07:17:57.821" v="2263" actId="14100"/>
          <ac:spMkLst>
            <pc:docMk/>
            <pc:sldMk cId="2473975822" sldId="2145709195"/>
            <ac:spMk id="14" creationId="{A369732B-6100-CACF-5FA8-2B374295A6C4}"/>
          </ac:spMkLst>
        </pc:spChg>
        <pc:spChg chg="add mod">
          <ac:chgData name="Wasan Alkaltham" userId="66892628e8126b54" providerId="LiveId" clId="{EC468F96-23D0-441E-99D9-F383B9EB1F8F}" dt="2025-02-16T07:18:05.027" v="2266" actId="14100"/>
          <ac:spMkLst>
            <pc:docMk/>
            <pc:sldMk cId="2473975822" sldId="2145709195"/>
            <ac:spMk id="15" creationId="{387DC215-890B-73A4-E978-3FFA874B32DC}"/>
          </ac:spMkLst>
        </pc:spChg>
        <pc:spChg chg="add del mod">
          <ac:chgData name="Wasan Alkaltham" userId="66892628e8126b54" providerId="LiveId" clId="{EC468F96-23D0-441E-99D9-F383B9EB1F8F}" dt="2025-02-16T07:20:56.350" v="2325"/>
          <ac:spMkLst>
            <pc:docMk/>
            <pc:sldMk cId="2473975822" sldId="2145709195"/>
            <ac:spMk id="16" creationId="{9915A773-E369-4A5A-3671-2DF5997BB83C}"/>
          </ac:spMkLst>
        </pc:spChg>
        <pc:spChg chg="add mod">
          <ac:chgData name="Wasan Alkaltham" userId="66892628e8126b54" providerId="LiveId" clId="{EC468F96-23D0-441E-99D9-F383B9EB1F8F}" dt="2025-02-16T07:19:55.288" v="2309" actId="1038"/>
          <ac:spMkLst>
            <pc:docMk/>
            <pc:sldMk cId="2473975822" sldId="2145709195"/>
            <ac:spMk id="17" creationId="{1A799F2D-D8C5-6F2E-40CE-2067B9DA9CD0}"/>
          </ac:spMkLst>
        </pc:spChg>
        <pc:spChg chg="add del mod">
          <ac:chgData name="Wasan Alkaltham" userId="66892628e8126b54" providerId="LiveId" clId="{EC468F96-23D0-441E-99D9-F383B9EB1F8F}" dt="2025-02-16T07:20:56.350" v="2325"/>
          <ac:spMkLst>
            <pc:docMk/>
            <pc:sldMk cId="2473975822" sldId="2145709195"/>
            <ac:spMk id="18" creationId="{71FCA443-03ED-E7DA-AF27-09657371352E}"/>
          </ac:spMkLst>
        </pc:spChg>
        <pc:spChg chg="add mod">
          <ac:chgData name="Wasan Alkaltham" userId="66892628e8126b54" providerId="LiveId" clId="{EC468F96-23D0-441E-99D9-F383B9EB1F8F}" dt="2025-02-16T07:18:36.905" v="2279" actId="1076"/>
          <ac:spMkLst>
            <pc:docMk/>
            <pc:sldMk cId="2473975822" sldId="2145709195"/>
            <ac:spMk id="19" creationId="{6AB4F88A-B5F7-6DB9-45B0-8971EFDCA9D8}"/>
          </ac:spMkLst>
        </pc:spChg>
        <pc:spChg chg="add mod">
          <ac:chgData name="Wasan Alkaltham" userId="66892628e8126b54" providerId="LiveId" clId="{EC468F96-23D0-441E-99D9-F383B9EB1F8F}" dt="2025-02-16T07:18:53.016" v="2287" actId="1035"/>
          <ac:spMkLst>
            <pc:docMk/>
            <pc:sldMk cId="2473975822" sldId="2145709195"/>
            <ac:spMk id="20" creationId="{BBD77D74-7265-66D6-F640-8C79C665AD52}"/>
          </ac:spMkLst>
        </pc:spChg>
        <pc:spChg chg="add mod">
          <ac:chgData name="Wasan Alkaltham" userId="66892628e8126b54" providerId="LiveId" clId="{EC468F96-23D0-441E-99D9-F383B9EB1F8F}" dt="2025-02-16T07:19:05.985" v="2290" actId="14100"/>
          <ac:spMkLst>
            <pc:docMk/>
            <pc:sldMk cId="2473975822" sldId="2145709195"/>
            <ac:spMk id="21" creationId="{E092745A-7E22-64CE-CC8E-053BDCDE23FE}"/>
          </ac:spMkLst>
        </pc:spChg>
        <pc:spChg chg="add del mod">
          <ac:chgData name="Wasan Alkaltham" userId="66892628e8126b54" providerId="LiveId" clId="{EC468F96-23D0-441E-99D9-F383B9EB1F8F}" dt="2025-02-16T07:20:56.350" v="2325"/>
          <ac:spMkLst>
            <pc:docMk/>
            <pc:sldMk cId="2473975822" sldId="2145709195"/>
            <ac:spMk id="22" creationId="{899FED35-F798-12F2-9AA0-17A1D1C9A320}"/>
          </ac:spMkLst>
        </pc:spChg>
        <pc:spChg chg="add mod">
          <ac:chgData name="Wasan Alkaltham" userId="66892628e8126b54" providerId="LiveId" clId="{EC468F96-23D0-441E-99D9-F383B9EB1F8F}" dt="2025-02-16T07:19:22.406" v="2296" actId="14100"/>
          <ac:spMkLst>
            <pc:docMk/>
            <pc:sldMk cId="2473975822" sldId="2145709195"/>
            <ac:spMk id="23" creationId="{0AF5DEE8-4C65-87D9-DC26-4D798B2E6E5B}"/>
          </ac:spMkLst>
        </pc:spChg>
        <pc:spChg chg="add del mod">
          <ac:chgData name="Wasan Alkaltham" userId="66892628e8126b54" providerId="LiveId" clId="{EC468F96-23D0-441E-99D9-F383B9EB1F8F}" dt="2025-02-16T07:20:56.350" v="2325"/>
          <ac:spMkLst>
            <pc:docMk/>
            <pc:sldMk cId="2473975822" sldId="2145709195"/>
            <ac:spMk id="24" creationId="{8995E4A0-3342-120E-51E5-010539AA52C6}"/>
          </ac:spMkLst>
        </pc:spChg>
        <pc:spChg chg="add del mod">
          <ac:chgData name="Wasan Alkaltham" userId="66892628e8126b54" providerId="LiveId" clId="{EC468F96-23D0-441E-99D9-F383B9EB1F8F}" dt="2025-02-16T07:20:56.350" v="2325"/>
          <ac:spMkLst>
            <pc:docMk/>
            <pc:sldMk cId="2473975822" sldId="2145709195"/>
            <ac:spMk id="25" creationId="{9C3629FE-ADC4-5311-578C-82BBF2CAA388}"/>
          </ac:spMkLst>
        </pc:spChg>
        <pc:spChg chg="add del mod">
          <ac:chgData name="Wasan Alkaltham" userId="66892628e8126b54" providerId="LiveId" clId="{EC468F96-23D0-441E-99D9-F383B9EB1F8F}" dt="2025-02-16T07:20:56.350" v="2325"/>
          <ac:spMkLst>
            <pc:docMk/>
            <pc:sldMk cId="2473975822" sldId="2145709195"/>
            <ac:spMk id="26" creationId="{64A16EDC-BB02-E61B-575C-FD16688D1204}"/>
          </ac:spMkLst>
        </pc:spChg>
        <pc:spChg chg="add del mod">
          <ac:chgData name="Wasan Alkaltham" userId="66892628e8126b54" providerId="LiveId" clId="{EC468F96-23D0-441E-99D9-F383B9EB1F8F}" dt="2025-02-16T07:20:56.350" v="2325"/>
          <ac:spMkLst>
            <pc:docMk/>
            <pc:sldMk cId="2473975822" sldId="2145709195"/>
            <ac:spMk id="27" creationId="{C365C131-F25D-2A36-B98B-6D5C9258C259}"/>
          </ac:spMkLst>
        </pc:spChg>
        <pc:spChg chg="add mod">
          <ac:chgData name="Wasan Alkaltham" userId="66892628e8126b54" providerId="LiveId" clId="{EC468F96-23D0-441E-99D9-F383B9EB1F8F}" dt="2025-02-16T07:20:24.753" v="2320" actId="14100"/>
          <ac:spMkLst>
            <pc:docMk/>
            <pc:sldMk cId="2473975822" sldId="2145709195"/>
            <ac:spMk id="28" creationId="{8C5D837D-0CDD-B29C-9597-3250729341DB}"/>
          </ac:spMkLst>
        </pc:spChg>
        <pc:spChg chg="add del mod">
          <ac:chgData name="Wasan Alkaltham" userId="66892628e8126b54" providerId="LiveId" clId="{EC468F96-23D0-441E-99D9-F383B9EB1F8F}" dt="2025-02-16T07:20:38.561" v="2324" actId="478"/>
          <ac:spMkLst>
            <pc:docMk/>
            <pc:sldMk cId="2473975822" sldId="2145709195"/>
            <ac:spMk id="29" creationId="{9D3148DA-A1F4-6F21-A445-D11CA7917211}"/>
          </ac:spMkLst>
        </pc:spChg>
        <pc:spChg chg="mod">
          <ac:chgData name="Wasan Alkaltham" userId="66892628e8126b54" providerId="LiveId" clId="{EC468F96-23D0-441E-99D9-F383B9EB1F8F}" dt="2025-02-16T07:20:56.350" v="2325"/>
          <ac:spMkLst>
            <pc:docMk/>
            <pc:sldMk cId="2473975822" sldId="2145709195"/>
            <ac:spMk id="30" creationId="{657EB7B1-FE50-2FBB-9667-7DA7612D565D}"/>
          </ac:spMkLst>
        </pc:spChg>
        <pc:picChg chg="mod modCrop">
          <ac:chgData name="Wasan Alkaltham" userId="66892628e8126b54" providerId="LiveId" clId="{EC468F96-23D0-441E-99D9-F383B9EB1F8F}" dt="2025-02-16T06:17:20.933" v="1686" actId="732"/>
          <ac:picMkLst>
            <pc:docMk/>
            <pc:sldMk cId="2473975822" sldId="2145709195"/>
            <ac:picMk id="4" creationId="{53FC48B1-BDB8-F8DE-321B-88784370B527}"/>
          </ac:picMkLst>
        </pc:picChg>
      </pc:sldChg>
      <pc:sldChg chg="new del">
        <pc:chgData name="Wasan Alkaltham" userId="66892628e8126b54" providerId="LiveId" clId="{EC468F96-23D0-441E-99D9-F383B9EB1F8F}" dt="2025-02-16T10:50:36.349" v="3115" actId="2696"/>
        <pc:sldMkLst>
          <pc:docMk/>
          <pc:sldMk cId="3097545597" sldId="2145709195"/>
        </pc:sldMkLst>
      </pc:sldChg>
      <pc:sldChg chg="add del">
        <pc:chgData name="Wasan Alkaltham" userId="66892628e8126b54" providerId="LiveId" clId="{EC468F96-23D0-441E-99D9-F383B9EB1F8F}" dt="2025-02-17T08:16:46.881" v="3241"/>
        <pc:sldMkLst>
          <pc:docMk/>
          <pc:sldMk cId="3119231913" sldId="2145709196"/>
        </pc:sldMkLst>
      </pc:sldChg>
      <pc:sldChg chg="addSp delSp modSp add del mod ord">
        <pc:chgData name="Wasan Alkaltham" userId="66892628e8126b54" providerId="LiveId" clId="{EC468F96-23D0-441E-99D9-F383B9EB1F8F}" dt="2025-02-16T07:27:09.816" v="2414" actId="47"/>
        <pc:sldMkLst>
          <pc:docMk/>
          <pc:sldMk cId="3605029091" sldId="2145709196"/>
        </pc:sldMkLst>
        <pc:spChg chg="del mod">
          <ac:chgData name="Wasan Alkaltham" userId="66892628e8126b54" providerId="LiveId" clId="{EC468F96-23D0-441E-99D9-F383B9EB1F8F}" dt="2025-02-16T07:23:16.088" v="2394"/>
          <ac:spMkLst>
            <pc:docMk/>
            <pc:sldMk cId="3605029091" sldId="2145709196"/>
            <ac:spMk id="2" creationId="{7238D126-59A1-B5C1-C351-4124A5406234}"/>
          </ac:spMkLst>
        </pc:spChg>
        <pc:spChg chg="mod">
          <ac:chgData name="Wasan Alkaltham" userId="66892628e8126b54" providerId="LiveId" clId="{EC468F96-23D0-441E-99D9-F383B9EB1F8F}" dt="2025-02-16T07:21:48.001" v="2367" actId="20577"/>
          <ac:spMkLst>
            <pc:docMk/>
            <pc:sldMk cId="3605029091" sldId="2145709196"/>
            <ac:spMk id="3" creationId="{7EDFF1DB-017C-5A50-773F-9FBEC28DC4E2}"/>
          </ac:spMkLst>
        </pc:spChg>
        <pc:spChg chg="add del mod">
          <ac:chgData name="Wasan Alkaltham" userId="66892628e8126b54" providerId="LiveId" clId="{EC468F96-23D0-441E-99D9-F383B9EB1F8F}" dt="2025-02-16T07:23:16.088" v="2394"/>
          <ac:spMkLst>
            <pc:docMk/>
            <pc:sldMk cId="3605029091" sldId="2145709196"/>
            <ac:spMk id="4" creationId="{C8182855-D886-AC89-804A-F0B880A6D57D}"/>
          </ac:spMkLst>
        </pc:spChg>
        <pc:spChg chg="add del mod">
          <ac:chgData name="Wasan Alkaltham" userId="66892628e8126b54" providerId="LiveId" clId="{EC468F96-23D0-441E-99D9-F383B9EB1F8F}" dt="2025-02-16T07:23:16.088" v="2394"/>
          <ac:spMkLst>
            <pc:docMk/>
            <pc:sldMk cId="3605029091" sldId="2145709196"/>
            <ac:spMk id="6" creationId="{C3159671-BD6A-3AE7-1396-ABAECE49E9EF}"/>
          </ac:spMkLst>
        </pc:spChg>
        <pc:spChg chg="add del mod">
          <ac:chgData name="Wasan Alkaltham" userId="66892628e8126b54" providerId="LiveId" clId="{EC468F96-23D0-441E-99D9-F383B9EB1F8F}" dt="2025-02-16T07:23:16.088" v="2394"/>
          <ac:spMkLst>
            <pc:docMk/>
            <pc:sldMk cId="3605029091" sldId="2145709196"/>
            <ac:spMk id="10" creationId="{00426BF5-83B5-ABE2-7C08-B9D7924B6FB3}"/>
          </ac:spMkLst>
        </pc:spChg>
        <pc:spChg chg="add del mod">
          <ac:chgData name="Wasan Alkaltham" userId="66892628e8126b54" providerId="LiveId" clId="{EC468F96-23D0-441E-99D9-F383B9EB1F8F}" dt="2025-02-16T07:23:16.088" v="2394"/>
          <ac:spMkLst>
            <pc:docMk/>
            <pc:sldMk cId="3605029091" sldId="2145709196"/>
            <ac:spMk id="11" creationId="{C0BBDC87-139C-8780-754A-9D73D6647411}"/>
          </ac:spMkLst>
        </pc:spChg>
        <pc:spChg chg="add del mod">
          <ac:chgData name="Wasan Alkaltham" userId="66892628e8126b54" providerId="LiveId" clId="{EC468F96-23D0-441E-99D9-F383B9EB1F8F}" dt="2025-02-16T07:23:16.088" v="2394"/>
          <ac:spMkLst>
            <pc:docMk/>
            <pc:sldMk cId="3605029091" sldId="2145709196"/>
            <ac:spMk id="12" creationId="{1A2AD305-E57D-A29B-AA79-985F41BA73F3}"/>
          </ac:spMkLst>
        </pc:spChg>
        <pc:spChg chg="add del mod">
          <ac:chgData name="Wasan Alkaltham" userId="66892628e8126b54" providerId="LiveId" clId="{EC468F96-23D0-441E-99D9-F383B9EB1F8F}" dt="2025-02-16T07:23:16.088" v="2394"/>
          <ac:spMkLst>
            <pc:docMk/>
            <pc:sldMk cId="3605029091" sldId="2145709196"/>
            <ac:spMk id="13" creationId="{417FC56E-C4C7-DA2F-0CB9-29932602834E}"/>
          </ac:spMkLst>
        </pc:spChg>
        <pc:spChg chg="mod">
          <ac:chgData name="Wasan Alkaltham" userId="66892628e8126b54" providerId="LiveId" clId="{EC468F96-23D0-441E-99D9-F383B9EB1F8F}" dt="2025-02-16T07:23:16.088" v="2394"/>
          <ac:spMkLst>
            <pc:docMk/>
            <pc:sldMk cId="3605029091" sldId="2145709196"/>
            <ac:spMk id="14" creationId="{5A521041-C8FF-E42A-06A0-24963C274C58}"/>
          </ac:spMkLst>
        </pc:spChg>
        <pc:picChg chg="mod">
          <ac:chgData name="Wasan Alkaltham" userId="66892628e8126b54" providerId="LiveId" clId="{EC468F96-23D0-441E-99D9-F383B9EB1F8F}" dt="2025-02-16T06:18:39.931" v="1693" actId="14826"/>
          <ac:picMkLst>
            <pc:docMk/>
            <pc:sldMk cId="3605029091" sldId="2145709196"/>
            <ac:picMk id="9" creationId="{A2C898CA-134B-E08E-900C-EFE6B55245BF}"/>
          </ac:picMkLst>
        </pc:picChg>
      </pc:sldChg>
      <pc:sldChg chg="add del ord">
        <pc:chgData name="Wasan Alkaltham" userId="66892628e8126b54" providerId="LiveId" clId="{EC468F96-23D0-441E-99D9-F383B9EB1F8F}" dt="2025-02-16T07:26:36.377" v="2397" actId="47"/>
        <pc:sldMkLst>
          <pc:docMk/>
          <pc:sldMk cId="2688148736" sldId="2145709197"/>
        </pc:sldMkLst>
      </pc:sldChg>
      <pc:sldChg chg="add del">
        <pc:chgData name="Wasan Alkaltham" userId="66892628e8126b54" providerId="LiveId" clId="{EC468F96-23D0-441E-99D9-F383B9EB1F8F}" dt="2025-02-17T08:16:46.881" v="3241"/>
        <pc:sldMkLst>
          <pc:docMk/>
          <pc:sldMk cId="4244016250" sldId="2145709197"/>
        </pc:sldMkLst>
      </pc:sldChg>
      <pc:sldChg chg="add del">
        <pc:chgData name="Wasan Alkaltham" userId="66892628e8126b54" providerId="LiveId" clId="{EC468F96-23D0-441E-99D9-F383B9EB1F8F}" dt="2025-02-17T08:16:46.881" v="3241"/>
        <pc:sldMkLst>
          <pc:docMk/>
          <pc:sldMk cId="3693200981" sldId="2145709198"/>
        </pc:sldMkLst>
      </pc:sldChg>
      <pc:sldChg chg="add del">
        <pc:chgData name="Wasan Alkaltham" userId="66892628e8126b54" providerId="LiveId" clId="{EC468F96-23D0-441E-99D9-F383B9EB1F8F}" dt="2025-02-17T08:16:46.881" v="3241"/>
        <pc:sldMkLst>
          <pc:docMk/>
          <pc:sldMk cId="1361327364" sldId="2145709199"/>
        </pc:sldMkLst>
      </pc:sldChg>
      <pc:sldChg chg="add del">
        <pc:chgData name="Wasan Alkaltham" userId="66892628e8126b54" providerId="LiveId" clId="{EC468F96-23D0-441E-99D9-F383B9EB1F8F}" dt="2025-02-17T08:16:46.881" v="3241"/>
        <pc:sldMkLst>
          <pc:docMk/>
          <pc:sldMk cId="2332242167" sldId="2145709200"/>
        </pc:sldMkLst>
      </pc:sldChg>
      <pc:sldChg chg="add del">
        <pc:chgData name="Wasan Alkaltham" userId="66892628e8126b54" providerId="LiveId" clId="{EC468F96-23D0-441E-99D9-F383B9EB1F8F}" dt="2025-02-17T08:16:46.881" v="3241"/>
        <pc:sldMkLst>
          <pc:docMk/>
          <pc:sldMk cId="762113530" sldId="2145709201"/>
        </pc:sldMkLst>
      </pc:sldChg>
      <pc:sldChg chg="add del">
        <pc:chgData name="Wasan Alkaltham" userId="66892628e8126b54" providerId="LiveId" clId="{EC468F96-23D0-441E-99D9-F383B9EB1F8F}" dt="2025-02-17T08:16:46.881" v="3241"/>
        <pc:sldMkLst>
          <pc:docMk/>
          <pc:sldMk cId="3476366685" sldId="2145709202"/>
        </pc:sldMkLst>
      </pc:sldChg>
      <pc:sldChg chg="add del">
        <pc:chgData name="Wasan Alkaltham" userId="66892628e8126b54" providerId="LiveId" clId="{EC468F96-23D0-441E-99D9-F383B9EB1F8F}" dt="2025-02-17T08:16:46.881" v="3241"/>
        <pc:sldMkLst>
          <pc:docMk/>
          <pc:sldMk cId="1753278401" sldId="2145709203"/>
        </pc:sldMkLst>
      </pc:sldChg>
      <pc:sldChg chg="add del">
        <pc:chgData name="Wasan Alkaltham" userId="66892628e8126b54" providerId="LiveId" clId="{EC468F96-23D0-441E-99D9-F383B9EB1F8F}" dt="2025-02-17T08:16:46.881" v="3241"/>
        <pc:sldMkLst>
          <pc:docMk/>
          <pc:sldMk cId="1586317829" sldId="2145709204"/>
        </pc:sldMkLst>
      </pc:sldChg>
      <pc:sldChg chg="add del">
        <pc:chgData name="Wasan Alkaltham" userId="66892628e8126b54" providerId="LiveId" clId="{EC468F96-23D0-441E-99D9-F383B9EB1F8F}" dt="2025-02-17T08:16:46.881" v="3241"/>
        <pc:sldMkLst>
          <pc:docMk/>
          <pc:sldMk cId="2391182497" sldId="2145709205"/>
        </pc:sldMkLst>
      </pc:sldChg>
      <pc:sldChg chg="add del">
        <pc:chgData name="Wasan Alkaltham" userId="66892628e8126b54" providerId="LiveId" clId="{EC468F96-23D0-441E-99D9-F383B9EB1F8F}" dt="2025-02-17T08:16:46.881" v="3241"/>
        <pc:sldMkLst>
          <pc:docMk/>
          <pc:sldMk cId="3884978840" sldId="2145709206"/>
        </pc:sldMkLst>
      </pc:sldChg>
      <pc:sldChg chg="add del">
        <pc:chgData name="Wasan Alkaltham" userId="66892628e8126b54" providerId="LiveId" clId="{EC468F96-23D0-441E-99D9-F383B9EB1F8F}" dt="2025-02-17T08:16:46.881" v="3241"/>
        <pc:sldMkLst>
          <pc:docMk/>
          <pc:sldMk cId="396483900" sldId="2145709207"/>
        </pc:sldMkLst>
      </pc:sldChg>
      <pc:sldChg chg="add del">
        <pc:chgData name="Wasan Alkaltham" userId="66892628e8126b54" providerId="LiveId" clId="{EC468F96-23D0-441E-99D9-F383B9EB1F8F}" dt="2025-02-17T08:16:46.881" v="3241"/>
        <pc:sldMkLst>
          <pc:docMk/>
          <pc:sldMk cId="2764671774" sldId="2145709208"/>
        </pc:sldMkLst>
      </pc:sldChg>
      <pc:sldChg chg="add del">
        <pc:chgData name="Wasan Alkaltham" userId="66892628e8126b54" providerId="LiveId" clId="{EC468F96-23D0-441E-99D9-F383B9EB1F8F}" dt="2025-02-17T08:16:46.881" v="3241"/>
        <pc:sldMkLst>
          <pc:docMk/>
          <pc:sldMk cId="2554902643" sldId="2145709209"/>
        </pc:sldMkLst>
      </pc:sldChg>
      <pc:sldChg chg="add del">
        <pc:chgData name="Wasan Alkaltham" userId="66892628e8126b54" providerId="LiveId" clId="{EC468F96-23D0-441E-99D9-F383B9EB1F8F}" dt="2025-02-17T08:16:46.881" v="3241"/>
        <pc:sldMkLst>
          <pc:docMk/>
          <pc:sldMk cId="974591560" sldId="2145709210"/>
        </pc:sldMkLst>
      </pc:sldChg>
      <pc:sldChg chg="add del">
        <pc:chgData name="Wasan Alkaltham" userId="66892628e8126b54" providerId="LiveId" clId="{EC468F96-23D0-441E-99D9-F383B9EB1F8F}" dt="2025-02-17T08:16:46.881" v="3241"/>
        <pc:sldMkLst>
          <pc:docMk/>
          <pc:sldMk cId="3710830437" sldId="2145709211"/>
        </pc:sldMkLst>
      </pc:sldChg>
      <pc:sldChg chg="add del">
        <pc:chgData name="Wasan Alkaltham" userId="66892628e8126b54" providerId="LiveId" clId="{EC468F96-23D0-441E-99D9-F383B9EB1F8F}" dt="2025-02-17T08:16:46.881" v="3241"/>
        <pc:sldMkLst>
          <pc:docMk/>
          <pc:sldMk cId="3358026035" sldId="2145709212"/>
        </pc:sldMkLst>
      </pc:sldChg>
      <pc:sldChg chg="add del">
        <pc:chgData name="Wasan Alkaltham" userId="66892628e8126b54" providerId="LiveId" clId="{EC468F96-23D0-441E-99D9-F383B9EB1F8F}" dt="2025-02-17T08:16:46.881" v="3241"/>
        <pc:sldMkLst>
          <pc:docMk/>
          <pc:sldMk cId="1366314645" sldId="2145709213"/>
        </pc:sldMkLst>
      </pc:sldChg>
      <pc:sldChg chg="add del">
        <pc:chgData name="Wasan Alkaltham" userId="66892628e8126b54" providerId="LiveId" clId="{EC468F96-23D0-441E-99D9-F383B9EB1F8F}" dt="2025-02-17T08:16:46.881" v="3241"/>
        <pc:sldMkLst>
          <pc:docMk/>
          <pc:sldMk cId="3040248934" sldId="2145709214"/>
        </pc:sldMkLst>
      </pc:sldChg>
      <pc:sldChg chg="add del">
        <pc:chgData name="Wasan Alkaltham" userId="66892628e8126b54" providerId="LiveId" clId="{EC468F96-23D0-441E-99D9-F383B9EB1F8F}" dt="2025-02-17T08:16:46.881" v="3241"/>
        <pc:sldMkLst>
          <pc:docMk/>
          <pc:sldMk cId="4104638011" sldId="2145709215"/>
        </pc:sldMkLst>
      </pc:sldChg>
      <pc:sldChg chg="add del">
        <pc:chgData name="Wasan Alkaltham" userId="66892628e8126b54" providerId="LiveId" clId="{EC468F96-23D0-441E-99D9-F383B9EB1F8F}" dt="2025-02-17T08:16:46.881" v="3241"/>
        <pc:sldMkLst>
          <pc:docMk/>
          <pc:sldMk cId="3492888928" sldId="2145709216"/>
        </pc:sldMkLst>
      </pc:sldChg>
      <pc:sldChg chg="add del">
        <pc:chgData name="Wasan Alkaltham" userId="66892628e8126b54" providerId="LiveId" clId="{EC468F96-23D0-441E-99D9-F383B9EB1F8F}" dt="2025-02-17T08:16:46.881" v="3241"/>
        <pc:sldMkLst>
          <pc:docMk/>
          <pc:sldMk cId="3593434381" sldId="2145709217"/>
        </pc:sldMkLst>
      </pc:sldChg>
      <pc:sldChg chg="add del">
        <pc:chgData name="Wasan Alkaltham" userId="66892628e8126b54" providerId="LiveId" clId="{EC468F96-23D0-441E-99D9-F383B9EB1F8F}" dt="2025-02-17T08:16:46.881" v="3241"/>
        <pc:sldMkLst>
          <pc:docMk/>
          <pc:sldMk cId="2164661854" sldId="2145709218"/>
        </pc:sldMkLst>
      </pc:sldChg>
      <pc:sldChg chg="add del">
        <pc:chgData name="Wasan Alkaltham" userId="66892628e8126b54" providerId="LiveId" clId="{EC468F96-23D0-441E-99D9-F383B9EB1F8F}" dt="2025-02-17T08:16:46.881" v="3241"/>
        <pc:sldMkLst>
          <pc:docMk/>
          <pc:sldMk cId="2370367211" sldId="2145709219"/>
        </pc:sldMkLst>
      </pc:sldChg>
      <pc:sldChg chg="add del">
        <pc:chgData name="Wasan Alkaltham" userId="66892628e8126b54" providerId="LiveId" clId="{EC468F96-23D0-441E-99D9-F383B9EB1F8F}" dt="2025-02-17T08:16:46.881" v="3241"/>
        <pc:sldMkLst>
          <pc:docMk/>
          <pc:sldMk cId="3818066053" sldId="2145709220"/>
        </pc:sldMkLst>
      </pc:sldChg>
      <pc:sldChg chg="add del">
        <pc:chgData name="Wasan Alkaltham" userId="66892628e8126b54" providerId="LiveId" clId="{EC468F96-23D0-441E-99D9-F383B9EB1F8F}" dt="2025-02-17T08:16:46.881" v="3241"/>
        <pc:sldMkLst>
          <pc:docMk/>
          <pc:sldMk cId="3619325083" sldId="2145709221"/>
        </pc:sldMkLst>
      </pc:sldChg>
      <pc:sldChg chg="add del">
        <pc:chgData name="Wasan Alkaltham" userId="66892628e8126b54" providerId="LiveId" clId="{EC468F96-23D0-441E-99D9-F383B9EB1F8F}" dt="2025-02-17T08:16:46.881" v="3241"/>
        <pc:sldMkLst>
          <pc:docMk/>
          <pc:sldMk cId="1889708026" sldId="2145709222"/>
        </pc:sldMkLst>
      </pc:sldChg>
      <pc:sldChg chg="add del">
        <pc:chgData name="Wasan Alkaltham" userId="66892628e8126b54" providerId="LiveId" clId="{EC468F96-23D0-441E-99D9-F383B9EB1F8F}" dt="2025-02-17T08:16:46.881" v="3241"/>
        <pc:sldMkLst>
          <pc:docMk/>
          <pc:sldMk cId="2748819575" sldId="2145709223"/>
        </pc:sldMkLst>
      </pc:sldChg>
      <pc:sldChg chg="add del">
        <pc:chgData name="Wasan Alkaltham" userId="66892628e8126b54" providerId="LiveId" clId="{EC468F96-23D0-441E-99D9-F383B9EB1F8F}" dt="2025-02-17T08:16:46.881" v="3241"/>
        <pc:sldMkLst>
          <pc:docMk/>
          <pc:sldMk cId="1807517258" sldId="2145709224"/>
        </pc:sldMkLst>
      </pc:sldChg>
      <pc:sldChg chg="add del">
        <pc:chgData name="Wasan Alkaltham" userId="66892628e8126b54" providerId="LiveId" clId="{EC468F96-23D0-441E-99D9-F383B9EB1F8F}" dt="2025-02-17T08:16:46.881" v="3241"/>
        <pc:sldMkLst>
          <pc:docMk/>
          <pc:sldMk cId="604690620" sldId="2145709225"/>
        </pc:sldMkLst>
      </pc:sldChg>
      <pc:sldChg chg="add del">
        <pc:chgData name="Wasan Alkaltham" userId="66892628e8126b54" providerId="LiveId" clId="{EC468F96-23D0-441E-99D9-F383B9EB1F8F}" dt="2025-02-17T08:16:46.881" v="3241"/>
        <pc:sldMkLst>
          <pc:docMk/>
          <pc:sldMk cId="2876637528" sldId="2145709226"/>
        </pc:sldMkLst>
      </pc:sldChg>
      <pc:sldChg chg="add del">
        <pc:chgData name="Wasan Alkaltham" userId="66892628e8126b54" providerId="LiveId" clId="{EC468F96-23D0-441E-99D9-F383B9EB1F8F}" dt="2025-02-17T08:16:46.881" v="3241"/>
        <pc:sldMkLst>
          <pc:docMk/>
          <pc:sldMk cId="3877237424" sldId="214570922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6"/>
          </a:xfrm>
          <a:prstGeom prst="rect">
            <a:avLst/>
          </a:prstGeom>
        </p:spPr>
        <p:txBody>
          <a:bodyPr vert="horz" lIns="91861" tIns="45930" rIns="91861" bIns="45930"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4940" y="0"/>
            <a:ext cx="2949099" cy="497206"/>
          </a:xfrm>
          <a:prstGeom prst="rect">
            <a:avLst/>
          </a:prstGeom>
        </p:spPr>
        <p:txBody>
          <a:bodyPr vert="horz" lIns="91861" tIns="45930" rIns="91861" bIns="45930" rtlCol="0"/>
          <a:lstStyle>
            <a:lvl1pPr algn="r">
              <a:defRPr sz="1200"/>
            </a:lvl1pPr>
          </a:lstStyle>
          <a:p>
            <a:fld id="{37497BA2-BE1C-4EE9-A31C-7FFCDEBC3FDE}" type="datetimeFigureOut">
              <a:rPr lang="en-US" smtClean="0">
                <a:latin typeface="Arial" pitchFamily="34" charset="0"/>
                <a:cs typeface="Arial" pitchFamily="34" charset="0"/>
              </a:rPr>
              <a:pPr/>
              <a:t>2/16/2025</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0" y="9445170"/>
            <a:ext cx="2949099" cy="497206"/>
          </a:xfrm>
          <a:prstGeom prst="rect">
            <a:avLst/>
          </a:prstGeom>
        </p:spPr>
        <p:txBody>
          <a:bodyPr vert="horz" lIns="91861" tIns="45930" rIns="91861" bIns="45930"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4940" y="9445170"/>
            <a:ext cx="2949099" cy="497206"/>
          </a:xfrm>
          <a:prstGeom prst="rect">
            <a:avLst/>
          </a:prstGeom>
        </p:spPr>
        <p:txBody>
          <a:bodyPr vert="horz" lIns="91861" tIns="45930" rIns="91861" bIns="45930" rtlCol="0" anchor="b"/>
          <a:lstStyle>
            <a:lvl1pPr algn="r">
              <a:defRPr sz="1200"/>
            </a:lvl1pPr>
          </a:lstStyle>
          <a:p>
            <a:fld id="{F0C191C2-D4F7-424F-868C-23ADE6615EBC}"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686055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6"/>
          </a:xfrm>
          <a:prstGeom prst="rect">
            <a:avLst/>
          </a:prstGeom>
        </p:spPr>
        <p:txBody>
          <a:bodyPr vert="horz" lIns="91861" tIns="45930" rIns="91861" bIns="45930" rtlCol="0"/>
          <a:lstStyle>
            <a:lvl1pPr algn="l">
              <a:defRPr sz="1200">
                <a:latin typeface="Georgia Pro" panose="02040502050405020303" pitchFamily="18" charset="0"/>
                <a:cs typeface="Arial" pitchFamily="34" charset="0"/>
                <a:sym typeface="Georgia Pro" panose="02040502050405020303" pitchFamily="18" charset="0"/>
              </a:defRPr>
            </a:lvl1pPr>
          </a:lstStyle>
          <a:p>
            <a:endParaRPr lang="en-US" dirty="0"/>
          </a:p>
        </p:txBody>
      </p:sp>
      <p:sp>
        <p:nvSpPr>
          <p:cNvPr id="3" name="Date Placeholder 2"/>
          <p:cNvSpPr>
            <a:spLocks noGrp="1"/>
          </p:cNvSpPr>
          <p:nvPr>
            <p:ph type="dt" idx="1"/>
          </p:nvPr>
        </p:nvSpPr>
        <p:spPr>
          <a:xfrm>
            <a:off x="3854940" y="0"/>
            <a:ext cx="2949099" cy="497206"/>
          </a:xfrm>
          <a:prstGeom prst="rect">
            <a:avLst/>
          </a:prstGeom>
        </p:spPr>
        <p:txBody>
          <a:bodyPr vert="horz" lIns="91861" tIns="45930" rIns="91861" bIns="45930" rtlCol="0"/>
          <a:lstStyle>
            <a:lvl1pPr algn="r">
              <a:defRPr sz="1200">
                <a:latin typeface="Georgia Pro" panose="02040502050405020303" pitchFamily="18" charset="0"/>
                <a:cs typeface="Arial" pitchFamily="34" charset="0"/>
                <a:sym typeface="Georgia Pro" panose="02040502050405020303" pitchFamily="18" charset="0"/>
              </a:defRPr>
            </a:lvl1pPr>
          </a:lstStyle>
          <a:p>
            <a:fld id="{732C4D34-2C19-43C3-91CC-9F2B4AC12977}" type="datetimeFigureOut">
              <a:rPr lang="en-US" smtClean="0"/>
              <a:pPr/>
              <a:t>2/16/2025</a:t>
            </a:fld>
            <a:endParaRPr lang="en-US"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861" tIns="45930" rIns="91861" bIns="45930" rtlCol="0" anchor="ctr"/>
          <a:lstStyle/>
          <a:p>
            <a:endParaRPr lang="en-US" dirty="0"/>
          </a:p>
        </p:txBody>
      </p:sp>
      <p:sp>
        <p:nvSpPr>
          <p:cNvPr id="5" name="Notes Placeholder 4"/>
          <p:cNvSpPr>
            <a:spLocks noGrp="1"/>
          </p:cNvSpPr>
          <p:nvPr>
            <p:ph type="body" sz="quarter" idx="3"/>
          </p:nvPr>
        </p:nvSpPr>
        <p:spPr>
          <a:xfrm>
            <a:off x="680562" y="4723448"/>
            <a:ext cx="5444490" cy="4474846"/>
          </a:xfrm>
          <a:prstGeom prst="rect">
            <a:avLst/>
          </a:prstGeom>
        </p:spPr>
        <p:txBody>
          <a:bodyPr vert="horz" lIns="91861" tIns="45930" rIns="91861" bIns="4593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5170"/>
            <a:ext cx="2949099" cy="497206"/>
          </a:xfrm>
          <a:prstGeom prst="rect">
            <a:avLst/>
          </a:prstGeom>
        </p:spPr>
        <p:txBody>
          <a:bodyPr vert="horz" lIns="91861" tIns="45930" rIns="91861" bIns="45930" rtlCol="0" anchor="b"/>
          <a:lstStyle>
            <a:lvl1pPr algn="l">
              <a:defRPr sz="1200">
                <a:latin typeface="Georgia Pro" panose="02040502050405020303" pitchFamily="18" charset="0"/>
                <a:cs typeface="Arial" pitchFamily="34" charset="0"/>
                <a:sym typeface="Georgia Pro" panose="02040502050405020303" pitchFamily="18" charset="0"/>
              </a:defRPr>
            </a:lvl1pPr>
          </a:lstStyle>
          <a:p>
            <a:endParaRPr lang="en-US" dirty="0"/>
          </a:p>
        </p:txBody>
      </p:sp>
      <p:sp>
        <p:nvSpPr>
          <p:cNvPr id="7" name="Slide Number Placeholder 6"/>
          <p:cNvSpPr>
            <a:spLocks noGrp="1"/>
          </p:cNvSpPr>
          <p:nvPr>
            <p:ph type="sldNum" sz="quarter" idx="5"/>
          </p:nvPr>
        </p:nvSpPr>
        <p:spPr>
          <a:xfrm>
            <a:off x="3854940" y="9445170"/>
            <a:ext cx="2949099" cy="497206"/>
          </a:xfrm>
          <a:prstGeom prst="rect">
            <a:avLst/>
          </a:prstGeom>
        </p:spPr>
        <p:txBody>
          <a:bodyPr vert="horz" lIns="91861" tIns="45930" rIns="91861" bIns="45930" rtlCol="0" anchor="b"/>
          <a:lstStyle>
            <a:lvl1pPr algn="r">
              <a:defRPr sz="1200">
                <a:latin typeface="Georgia Pro" panose="02040502050405020303" pitchFamily="18" charset="0"/>
                <a:cs typeface="Arial" pitchFamily="34" charset="0"/>
                <a:sym typeface="Georgia Pro" panose="02040502050405020303" pitchFamily="18" charset="0"/>
              </a:defRPr>
            </a:lvl1pPr>
          </a:lstStyle>
          <a:p>
            <a:fld id="{D256E95E-57AA-4526-AA4C-3002F47FB13B}" type="slidenum">
              <a:rPr lang="en-US" smtClean="0"/>
              <a:pPr/>
              <a:t>‹#›</a:t>
            </a:fld>
            <a:endParaRPr lang="en-US" dirty="0"/>
          </a:p>
        </p:txBody>
      </p:sp>
    </p:spTree>
    <p:extLst>
      <p:ext uri="{BB962C8B-B14F-4D97-AF65-F5344CB8AC3E}">
        <p14:creationId xmlns:p14="http://schemas.microsoft.com/office/powerpoint/2010/main" val="1571392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eorgia Pro" panose="02040502050405020303" pitchFamily="18" charset="0"/>
        <a:ea typeface="+mn-ea"/>
        <a:cs typeface="Arial" pitchFamily="34" charset="0"/>
        <a:sym typeface="Georgia Pro" panose="02040502050405020303" pitchFamily="18" charset="0"/>
      </a:defRPr>
    </a:lvl1pPr>
    <a:lvl2pPr marL="457200" algn="l" defTabSz="914400" rtl="0" eaLnBrk="1" latinLnBrk="0" hangingPunct="1">
      <a:defRPr sz="1200" kern="1200">
        <a:solidFill>
          <a:schemeClr val="tx1"/>
        </a:solidFill>
        <a:latin typeface="Georgia Pro" panose="02040502050405020303" pitchFamily="18" charset="0"/>
        <a:ea typeface="+mn-ea"/>
        <a:cs typeface="Arial" pitchFamily="34" charset="0"/>
        <a:sym typeface="Georgia Pro" panose="02040502050405020303" pitchFamily="18" charset="0"/>
      </a:defRPr>
    </a:lvl2pPr>
    <a:lvl3pPr marL="914400" algn="l" defTabSz="914400" rtl="0" eaLnBrk="1" latinLnBrk="0" hangingPunct="1">
      <a:defRPr sz="1200" kern="1200">
        <a:solidFill>
          <a:schemeClr val="tx1"/>
        </a:solidFill>
        <a:latin typeface="Georgia Pro" panose="02040502050405020303" pitchFamily="18" charset="0"/>
        <a:ea typeface="+mn-ea"/>
        <a:cs typeface="Arial" pitchFamily="34" charset="0"/>
        <a:sym typeface="Georgia Pro" panose="02040502050405020303" pitchFamily="18" charset="0"/>
      </a:defRPr>
    </a:lvl3pPr>
    <a:lvl4pPr marL="1371600" algn="l" defTabSz="914400" rtl="0" eaLnBrk="1" latinLnBrk="0" hangingPunct="1">
      <a:defRPr sz="1200" kern="1200">
        <a:solidFill>
          <a:schemeClr val="tx1"/>
        </a:solidFill>
        <a:latin typeface="Georgia Pro" panose="02040502050405020303" pitchFamily="18" charset="0"/>
        <a:ea typeface="+mn-ea"/>
        <a:cs typeface="Arial" pitchFamily="34" charset="0"/>
        <a:sym typeface="Georgia Pro" panose="02040502050405020303" pitchFamily="18" charset="0"/>
      </a:defRPr>
    </a:lvl4pPr>
    <a:lvl5pPr marL="1828800" algn="l" defTabSz="914400" rtl="0" eaLnBrk="1" latinLnBrk="0" hangingPunct="1">
      <a:defRPr sz="1200" kern="1200">
        <a:solidFill>
          <a:schemeClr val="tx1"/>
        </a:solidFill>
        <a:latin typeface="Georgia Pro" panose="02040502050405020303" pitchFamily="18" charset="0"/>
        <a:ea typeface="+mn-ea"/>
        <a:cs typeface="Arial" pitchFamily="34" charset="0"/>
        <a:sym typeface="Georgia Pro" panose="02040502050405020303"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hyperlink" Target="https://mngdp.sang.gov.sa/" TargetMode="External"/><Relationship Id="rId4" Type="http://schemas.openxmlformats.org/officeDocument/2006/relationships/hyperlink" Target="mailto:MNGDP@sang.gov.sa"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0535ED-33E0-4004-BD52-35DB391B5215}"/>
              </a:ext>
            </a:extLst>
          </p:cNvPr>
          <p:cNvGraphicFramePr>
            <a:graphicFrameLocks noChangeAspect="1"/>
          </p:cNvGraphicFramePr>
          <p:nvPr userDrawn="1">
            <p:custDataLst>
              <p:tags r:id="rId1"/>
            </p:custDataLst>
            <p:extLst>
              <p:ext uri="{D42A27DB-BD31-4B8C-83A1-F6EECF244321}">
                <p14:modId xmlns:p14="http://schemas.microsoft.com/office/powerpoint/2010/main" val="798470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6" name="Object 5" hidden="1">
                        <a:extLst>
                          <a:ext uri="{FF2B5EF4-FFF2-40B4-BE49-F238E27FC236}">
                            <a16:creationId xmlns:a16="http://schemas.microsoft.com/office/drawing/2014/main" id="{B60535ED-33E0-4004-BD52-35DB391B5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CA11088C-2813-1642-B2E7-00D4B344B7D4}"/>
              </a:ext>
            </a:extLst>
          </p:cNvPr>
          <p:cNvSpPr/>
          <p:nvPr userDrawn="1"/>
        </p:nvSpPr>
        <p:spPr>
          <a:xfrm>
            <a:off x="848432" y="2654300"/>
            <a:ext cx="11379197" cy="236033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dirty="0">
              <a:latin typeface="Georgia Pro" panose="02040502050405020303" pitchFamily="18" charset="0"/>
              <a:sym typeface="Georgia Pro" panose="02040502050405020303" pitchFamily="18" charset="0"/>
            </a:endParaRPr>
          </a:p>
        </p:txBody>
      </p:sp>
      <p:pic>
        <p:nvPicPr>
          <p:cNvPr id="2" name="Picture 1">
            <a:extLst>
              <a:ext uri="{FF2B5EF4-FFF2-40B4-BE49-F238E27FC236}">
                <a16:creationId xmlns:a16="http://schemas.microsoft.com/office/drawing/2014/main" id="{4BEDA2E5-92EE-3C49-800A-09C07D9DD529}"/>
              </a:ext>
            </a:extLst>
          </p:cNvPr>
          <p:cNvPicPr>
            <a:picLocks noChangeAspect="1"/>
          </p:cNvPicPr>
          <p:nvPr userDrawn="1"/>
        </p:nvPicPr>
        <p:blipFill>
          <a:blip r:embed="rId5"/>
          <a:stretch>
            <a:fillRect/>
          </a:stretch>
        </p:blipFill>
        <p:spPr>
          <a:xfrm>
            <a:off x="585790" y="475792"/>
            <a:ext cx="3179760" cy="1134000"/>
          </a:xfrm>
          <a:prstGeom prst="rect">
            <a:avLst/>
          </a:prstGeom>
        </p:spPr>
      </p:pic>
      <p:sp>
        <p:nvSpPr>
          <p:cNvPr id="3" name="مربع نص 2">
            <a:extLst>
              <a:ext uri="{FF2B5EF4-FFF2-40B4-BE49-F238E27FC236}">
                <a16:creationId xmlns:a16="http://schemas.microsoft.com/office/drawing/2014/main" id="{B3844120-D015-D242-8394-D86AB194F74F}"/>
              </a:ext>
            </a:extLst>
          </p:cNvPr>
          <p:cNvSpPr txBox="1"/>
          <p:nvPr userDrawn="1"/>
        </p:nvSpPr>
        <p:spPr>
          <a:xfrm>
            <a:off x="8776252" y="6211957"/>
            <a:ext cx="0" cy="0"/>
          </a:xfrm>
          <a:prstGeom prst="rect">
            <a:avLst/>
          </a:prstGeom>
        </p:spPr>
        <p:txBody>
          <a:bodyPr vert="horz" wrap="none" lIns="0" tIns="0" rIns="0" bIns="0" rtlCol="1" anchor="t">
            <a:noAutofit/>
          </a:bodyPr>
          <a:lstStyle/>
          <a:p>
            <a:pPr algn="l"/>
            <a:endParaRPr lang="ar-SA" sz="2800" dirty="0">
              <a:solidFill>
                <a:schemeClr val="accent1"/>
              </a:solidFill>
              <a:latin typeface="Georgia Pro" panose="02040502050405020303" pitchFamily="18" charset="0"/>
              <a:sym typeface="Georgia Pro" panose="02040502050405020303" pitchFamily="18" charset="0"/>
            </a:endParaRPr>
          </a:p>
        </p:txBody>
      </p:sp>
      <p:pic>
        <p:nvPicPr>
          <p:cNvPr id="15" name="Picture 14">
            <a:extLst>
              <a:ext uri="{FF2B5EF4-FFF2-40B4-BE49-F238E27FC236}">
                <a16:creationId xmlns:a16="http://schemas.microsoft.com/office/drawing/2014/main" id="{C4DC03FA-FBF4-4D17-9559-8F790E9C1889}"/>
              </a:ext>
            </a:extLst>
          </p:cNvPr>
          <p:cNvPicPr>
            <a:picLocks noChangeAspect="1"/>
          </p:cNvPicPr>
          <p:nvPr userDrawn="1"/>
        </p:nvPicPr>
        <p:blipFill>
          <a:blip r:embed="rId6"/>
          <a:stretch>
            <a:fillRect/>
          </a:stretch>
        </p:blipFill>
        <p:spPr>
          <a:xfrm>
            <a:off x="8048458" y="1289465"/>
            <a:ext cx="3840813" cy="4828450"/>
          </a:xfrm>
          <a:prstGeom prst="rect">
            <a:avLst/>
          </a:prstGeom>
        </p:spPr>
      </p:pic>
      <p:sp>
        <p:nvSpPr>
          <p:cNvPr id="11" name="Title 4">
            <a:extLst>
              <a:ext uri="{FF2B5EF4-FFF2-40B4-BE49-F238E27FC236}">
                <a16:creationId xmlns:a16="http://schemas.microsoft.com/office/drawing/2014/main" id="{4110E0D7-2634-4913-BB35-E65FCE9CEAE7}"/>
              </a:ext>
            </a:extLst>
          </p:cNvPr>
          <p:cNvSpPr>
            <a:spLocks noGrp="1"/>
          </p:cNvSpPr>
          <p:nvPr>
            <p:ph type="title" hasCustomPrompt="1"/>
          </p:nvPr>
        </p:nvSpPr>
        <p:spPr>
          <a:xfrm>
            <a:off x="1629553" y="3049464"/>
            <a:ext cx="6015073" cy="759071"/>
          </a:xfrm>
          <a:prstGeom prst="rect">
            <a:avLst/>
          </a:prstGeom>
          <a:noFill/>
          <a:extLst>
            <a:ext uri="{909E8E84-426E-40DD-AFC4-6F175D3DCCD1}">
              <a14:hiddenFill xmlns:a14="http://schemas.microsoft.com/office/drawing/2010/main">
                <a:solidFill>
                  <a:schemeClr val="accent2"/>
                </a:solidFill>
              </a14:hiddenFill>
            </a:ext>
          </a:extLst>
        </p:spPr>
        <p:txBody>
          <a:bodyPr vert="horz" wrap="square" lIns="0" tIns="0" rIns="0" bIns="0" anchor="t" anchorCtr="0">
            <a:noAutofit/>
          </a:bodyPr>
          <a:lstStyle>
            <a:lvl1pPr marL="0" indent="0" algn="l">
              <a:lnSpc>
                <a:spcPct val="100000"/>
              </a:lnSpc>
              <a:spcBef>
                <a:spcPts val="0"/>
              </a:spcBef>
              <a:spcAft>
                <a:spcPts val="0"/>
              </a:spcAft>
              <a:defRPr sz="2400" b="1" i="0" u="none" kern="1200" spc="0">
                <a:solidFill>
                  <a:schemeClr val="bg1"/>
                </a:solidFill>
                <a:latin typeface="Georgia Pro" panose="02040502050405020303" pitchFamily="18" charset="0"/>
                <a:sym typeface="Georgia Pro" panose="02040502050405020303" pitchFamily="18" charset="0"/>
              </a:defRPr>
            </a:lvl1pPr>
          </a:lstStyle>
          <a:p>
            <a:pPr lvl="0"/>
            <a:r>
              <a:rPr lang="en-US"/>
              <a:t>Master title, Georgia 24 </a:t>
            </a:r>
            <a:r>
              <a:rPr lang="en-US" err="1"/>
              <a:t>pt</a:t>
            </a:r>
            <a:endParaRPr lang="en-US"/>
          </a:p>
        </p:txBody>
      </p:sp>
      <p:sp>
        <p:nvSpPr>
          <p:cNvPr id="12" name="Subtitle 2">
            <a:extLst>
              <a:ext uri="{FF2B5EF4-FFF2-40B4-BE49-F238E27FC236}">
                <a16:creationId xmlns:a16="http://schemas.microsoft.com/office/drawing/2014/main" id="{A65BBBE0-D4C7-4C2E-9FCC-87366E623B6D}"/>
              </a:ext>
            </a:extLst>
          </p:cNvPr>
          <p:cNvSpPr>
            <a:spLocks noGrp="1"/>
          </p:cNvSpPr>
          <p:nvPr>
            <p:ph type="subTitle" idx="1" hasCustomPrompt="1"/>
          </p:nvPr>
        </p:nvSpPr>
        <p:spPr>
          <a:xfrm>
            <a:off x="1629554" y="4050157"/>
            <a:ext cx="5819492" cy="396495"/>
          </a:xfrm>
        </p:spPr>
        <p:txBody>
          <a:bodyPr wrap="square" lIns="0" tIns="0" rIns="0" bIns="0">
            <a:noAutofit/>
          </a:bodyPr>
          <a:lstStyle>
            <a:lvl1pPr marL="0" indent="0" algn="l" rtl="0">
              <a:buNone/>
              <a:defRPr sz="1800" b="0">
                <a:solidFill>
                  <a:schemeClr val="accent2"/>
                </a:solidFill>
                <a:latin typeface="Georgia Pro" panose="02040502050405020303" pitchFamily="18" charset="0"/>
                <a:sym typeface="Georgia Pro"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
              <a:t>Subtitle</a:t>
            </a:r>
            <a:r>
              <a:rPr lang="ar-SA"/>
              <a:t> ،</a:t>
            </a:r>
            <a:r>
              <a:rPr lang="en-US"/>
              <a:t>Georgia 18 </a:t>
            </a:r>
            <a:r>
              <a:rPr lang="en-US" err="1"/>
              <a:t>pt</a:t>
            </a:r>
            <a:endParaRPr lang="en-US"/>
          </a:p>
        </p:txBody>
      </p:sp>
      <p:sp>
        <p:nvSpPr>
          <p:cNvPr id="14" name="Date Placeholder 19">
            <a:extLst>
              <a:ext uri="{FF2B5EF4-FFF2-40B4-BE49-F238E27FC236}">
                <a16:creationId xmlns:a16="http://schemas.microsoft.com/office/drawing/2014/main" id="{C3BBCDC4-148D-41E8-8898-F8EB1F8123C7}"/>
              </a:ext>
            </a:extLst>
          </p:cNvPr>
          <p:cNvSpPr>
            <a:spLocks noGrp="1"/>
          </p:cNvSpPr>
          <p:nvPr>
            <p:ph type="dt" sz="half" idx="11"/>
          </p:nvPr>
        </p:nvSpPr>
        <p:spPr>
          <a:xfrm>
            <a:off x="8321391" y="6211667"/>
            <a:ext cx="2743200" cy="365125"/>
          </a:xfrm>
        </p:spPr>
        <p:txBody>
          <a:bodyPr/>
          <a:lstStyle>
            <a:lvl1pPr>
              <a:defRPr sz="1100">
                <a:latin typeface="Georgia Pro" panose="02040502050405020303" pitchFamily="18" charset="0"/>
                <a:sym typeface="Georgia Pro" panose="02040502050405020303" pitchFamily="18" charset="0"/>
              </a:defRPr>
            </a:lvl1pPr>
          </a:lstStyle>
          <a:p>
            <a:endParaRPr lang="en-US" dirty="0"/>
          </a:p>
        </p:txBody>
      </p:sp>
    </p:spTree>
    <p:extLst>
      <p:ext uri="{BB962C8B-B14F-4D97-AF65-F5344CB8AC3E}">
        <p14:creationId xmlns:p14="http://schemas.microsoft.com/office/powerpoint/2010/main" val="106937281"/>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orient="horz" pos="346">
          <p15:clr>
            <a:srgbClr val="FBAE40"/>
          </p15:clr>
        </p15:guide>
        <p15:guide id="5" orient="horz" pos="39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OWER_USER_LAYOUT_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62CBF79-5CDE-49F7-989C-12645568491B}"/>
              </a:ext>
            </a:extLst>
          </p:cNvPr>
          <p:cNvSpPr/>
          <p:nvPr userDrawn="1"/>
        </p:nvSpPr>
        <p:spPr>
          <a:xfrm>
            <a:off x="0" y="-1"/>
            <a:ext cx="12193200" cy="6858000"/>
          </a:xfrm>
          <a:prstGeom prst="rect">
            <a:avLst/>
          </a:prstGeom>
          <a:solidFill>
            <a:srgbClr val="14430F"/>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sp>
        <p:nvSpPr>
          <p:cNvPr id="5" name="Title 12">
            <a:extLst>
              <a:ext uri="{FF2B5EF4-FFF2-40B4-BE49-F238E27FC236}">
                <a16:creationId xmlns:a16="http://schemas.microsoft.com/office/drawing/2014/main" id="{A2E52EBB-3144-4007-97A4-DFDB34DE2749}"/>
              </a:ext>
            </a:extLst>
          </p:cNvPr>
          <p:cNvSpPr txBox="1">
            <a:spLocks/>
          </p:cNvSpPr>
          <p:nvPr userDrawn="1"/>
        </p:nvSpPr>
        <p:spPr>
          <a:xfrm>
            <a:off x="757110" y="1"/>
            <a:ext cx="9968556" cy="1258894"/>
          </a:xfrm>
          <a:prstGeom prst="rect">
            <a:avLst/>
          </a:prstGeom>
        </p:spPr>
        <p:txBody>
          <a:bodyPr vert="horz" wrap="square" lIns="0" tIns="0" rIns="0" bIns="0" rtlCol="0" anchor="ctr">
            <a:noAutofit/>
          </a:bodyPr>
          <a:lstStyle>
            <a:lvl1pPr algn="r" defTabSz="914400" rtl="1"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Sakkal Majalla" panose="02000000000000000000" pitchFamily="2" charset="-78"/>
              <a:ea typeface="+mj-ea"/>
              <a:cs typeface="Sakkal Majalla"/>
            </a:endParaRPr>
          </a:p>
        </p:txBody>
      </p:sp>
      <p:sp>
        <p:nvSpPr>
          <p:cNvPr id="12" name="Slide Number Placeholder 2">
            <a:extLst>
              <a:ext uri="{FF2B5EF4-FFF2-40B4-BE49-F238E27FC236}">
                <a16:creationId xmlns:a16="http://schemas.microsoft.com/office/drawing/2014/main" id="{9975BF1D-547A-4B83-BDB9-9E7EE620E415}"/>
              </a:ext>
            </a:extLst>
          </p:cNvPr>
          <p:cNvSpPr>
            <a:spLocks noGrp="1"/>
          </p:cNvSpPr>
          <p:nvPr>
            <p:ph type="sldNum" sz="quarter" idx="4"/>
          </p:nvPr>
        </p:nvSpPr>
        <p:spPr>
          <a:xfrm>
            <a:off x="203842" y="6484196"/>
            <a:ext cx="2743200" cy="365125"/>
          </a:xfrm>
          <a:prstGeom prst="rect">
            <a:avLst/>
          </a:prstGeom>
          <a:ln>
            <a:noFill/>
          </a:ln>
        </p:spPr>
        <p:txBody>
          <a:bodyPr vert="horz" lIns="91440" tIns="45720" rIns="91440" bIns="45720" rtlCol="0" anchor="ctr"/>
          <a:lstStyle>
            <a:lvl1pPr algn="l" rtl="1">
              <a:defRPr sz="1200">
                <a:solidFill>
                  <a:schemeClr val="bg1"/>
                </a:solidFill>
              </a:defRPr>
            </a:lvl1pPr>
          </a:lstStyle>
          <a:p>
            <a:fld id="{E75C2C89-F887-4946-9289-77479B29E3CB}" type="slidenum">
              <a:rPr lang="en-US" smtClean="0"/>
              <a:pPr/>
              <a:t>‹#›</a:t>
            </a:fld>
            <a:endParaRPr lang="en-US"/>
          </a:p>
        </p:txBody>
      </p:sp>
      <p:sp>
        <p:nvSpPr>
          <p:cNvPr id="7" name="Freeform 35">
            <a:extLst>
              <a:ext uri="{FF2B5EF4-FFF2-40B4-BE49-F238E27FC236}">
                <a16:creationId xmlns:a16="http://schemas.microsoft.com/office/drawing/2014/main" id="{43294051-F8BC-688E-B0D7-D7AFDE2E8CEB}"/>
              </a:ext>
            </a:extLst>
          </p:cNvPr>
          <p:cNvSpPr/>
          <p:nvPr userDrawn="1"/>
        </p:nvSpPr>
        <p:spPr>
          <a:xfrm rot="16200000" flipV="1">
            <a:off x="8478496" y="1186066"/>
            <a:ext cx="3242450" cy="4799903"/>
          </a:xfrm>
          <a:custGeom>
            <a:avLst/>
            <a:gdLst>
              <a:gd name="connsiteX0" fmla="*/ 3923589 w 4170340"/>
              <a:gd name="connsiteY0" fmla="*/ 6173396 h 6173489"/>
              <a:gd name="connsiteX1" fmla="*/ 4159257 w 4170340"/>
              <a:gd name="connsiteY1" fmla="*/ 5595059 h 6173489"/>
              <a:gd name="connsiteX2" fmla="*/ 4170166 w 4170340"/>
              <a:gd name="connsiteY2" fmla="*/ 172001 h 6173489"/>
              <a:gd name="connsiteX3" fmla="*/ 4170340 w 4170340"/>
              <a:gd name="connsiteY3" fmla="*/ 0 h 6173489"/>
              <a:gd name="connsiteX4" fmla="*/ 13430 w 4170340"/>
              <a:gd name="connsiteY4" fmla="*/ 0 h 6173489"/>
              <a:gd name="connsiteX5" fmla="*/ 11731 w 4170340"/>
              <a:gd name="connsiteY5" fmla="*/ 512653 h 6173489"/>
              <a:gd name="connsiteX6" fmla="*/ 0 w 4170340"/>
              <a:gd name="connsiteY6" fmla="*/ 4078098 h 6173489"/>
              <a:gd name="connsiteX7" fmla="*/ 12513 w 4170340"/>
              <a:gd name="connsiteY7" fmla="*/ 4532639 h 6173489"/>
              <a:gd name="connsiteX8" fmla="*/ 317825 w 4170340"/>
              <a:gd name="connsiteY8" fmla="*/ 4826799 h 6173489"/>
              <a:gd name="connsiteX9" fmla="*/ 3725062 w 4170340"/>
              <a:gd name="connsiteY9" fmla="*/ 6127834 h 6173489"/>
              <a:gd name="connsiteX10" fmla="*/ 3923589 w 4170340"/>
              <a:gd name="connsiteY10" fmla="*/ 6173396 h 617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0340" h="6173489">
                <a:moveTo>
                  <a:pt x="3923589" y="6173396"/>
                </a:moveTo>
                <a:cubicBezTo>
                  <a:pt x="4154894" y="6167385"/>
                  <a:pt x="4162307" y="5873475"/>
                  <a:pt x="4159257" y="5595059"/>
                </a:cubicBezTo>
                <a:cubicBezTo>
                  <a:pt x="4153626" y="3757339"/>
                  <a:pt x="4166530" y="1979907"/>
                  <a:pt x="4170166" y="172001"/>
                </a:cubicBezTo>
                <a:lnTo>
                  <a:pt x="4170340" y="0"/>
                </a:lnTo>
                <a:lnTo>
                  <a:pt x="13430" y="0"/>
                </a:lnTo>
                <a:lnTo>
                  <a:pt x="11731" y="512653"/>
                </a:lnTo>
                <a:cubicBezTo>
                  <a:pt x="7821" y="1686211"/>
                  <a:pt x="3911" y="2836620"/>
                  <a:pt x="0" y="4078098"/>
                </a:cubicBezTo>
                <a:cubicBezTo>
                  <a:pt x="11262" y="4379300"/>
                  <a:pt x="-7508" y="4394164"/>
                  <a:pt x="12513" y="4532639"/>
                </a:cubicBezTo>
                <a:cubicBezTo>
                  <a:pt x="54222" y="4650773"/>
                  <a:pt x="81333" y="4747001"/>
                  <a:pt x="317825" y="4826799"/>
                </a:cubicBezTo>
                <a:lnTo>
                  <a:pt x="3725062" y="6127834"/>
                </a:lnTo>
                <a:cubicBezTo>
                  <a:pt x="3804910" y="6160839"/>
                  <a:pt x="3870211" y="6174784"/>
                  <a:pt x="3923589" y="6173396"/>
                </a:cubicBezTo>
                <a:close/>
              </a:path>
            </a:pathLst>
          </a:custGeom>
          <a:noFill/>
          <a:ln w="158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E"/>
          </a:p>
        </p:txBody>
      </p:sp>
      <p:grpSp>
        <p:nvGrpSpPr>
          <p:cNvPr id="8" name="Group 7">
            <a:extLst>
              <a:ext uri="{FF2B5EF4-FFF2-40B4-BE49-F238E27FC236}">
                <a16:creationId xmlns:a16="http://schemas.microsoft.com/office/drawing/2014/main" id="{0E47468B-4599-1A9B-DAEE-E874B7635B6E}"/>
              </a:ext>
            </a:extLst>
          </p:cNvPr>
          <p:cNvGrpSpPr/>
          <p:nvPr userDrawn="1"/>
        </p:nvGrpSpPr>
        <p:grpSpPr>
          <a:xfrm>
            <a:off x="11535153" y="2453658"/>
            <a:ext cx="703027" cy="2264718"/>
            <a:chOff x="5169533" y="6174747"/>
            <a:chExt cx="1072725" cy="3455656"/>
          </a:xfrm>
        </p:grpSpPr>
        <p:sp>
          <p:nvSpPr>
            <p:cNvPr id="9" name="Freeform 28">
              <a:extLst>
                <a:ext uri="{FF2B5EF4-FFF2-40B4-BE49-F238E27FC236}">
                  <a16:creationId xmlns:a16="http://schemas.microsoft.com/office/drawing/2014/main" id="{949A12FC-2DAB-450F-D2AD-78A93E3502CD}"/>
                </a:ext>
              </a:extLst>
            </p:cNvPr>
            <p:cNvSpPr/>
            <p:nvPr/>
          </p:nvSpPr>
          <p:spPr>
            <a:xfrm rot="10800000">
              <a:off x="5169534" y="6174747"/>
              <a:ext cx="1072724" cy="3455656"/>
            </a:xfrm>
            <a:custGeom>
              <a:avLst/>
              <a:gdLst>
                <a:gd name="connsiteX0" fmla="*/ 230795 w 3889612"/>
                <a:gd name="connsiteY0" fmla="*/ 12529843 h 12529930"/>
                <a:gd name="connsiteX1" fmla="*/ 11030 w 3889612"/>
                <a:gd name="connsiteY1" fmla="*/ 11990534 h 12529930"/>
                <a:gd name="connsiteX2" fmla="*/ 11474 w 3889612"/>
                <a:gd name="connsiteY2" fmla="*/ 10313680 h 12529930"/>
                <a:gd name="connsiteX3" fmla="*/ 11135 w 3889612"/>
                <a:gd name="connsiteY3" fmla="*/ 10306957 h 12529930"/>
                <a:gd name="connsiteX4" fmla="*/ 11030 w 3889612"/>
                <a:gd name="connsiteY4" fmla="*/ 10187133 h 12529930"/>
                <a:gd name="connsiteX5" fmla="*/ 11039 w 3889612"/>
                <a:gd name="connsiteY5" fmla="*/ 10153073 h 12529930"/>
                <a:gd name="connsiteX6" fmla="*/ 6169 w 3889612"/>
                <a:gd name="connsiteY6" fmla="*/ 8613001 h 12529930"/>
                <a:gd name="connsiteX7" fmla="*/ 857 w 3889612"/>
                <a:gd name="connsiteY7" fmla="*/ 6933434 h 12529930"/>
                <a:gd name="connsiteX8" fmla="*/ 1298 w 3889612"/>
                <a:gd name="connsiteY8" fmla="*/ 5269356 h 12529930"/>
                <a:gd name="connsiteX9" fmla="*/ 857 w 3889612"/>
                <a:gd name="connsiteY9" fmla="*/ 5130034 h 12529930"/>
                <a:gd name="connsiteX10" fmla="*/ 2 w 3889612"/>
                <a:gd name="connsiteY10" fmla="*/ 4284322 h 12529930"/>
                <a:gd name="connsiteX11" fmla="*/ 548 w 3889612"/>
                <a:gd name="connsiteY11" fmla="*/ 3927532 h 12529930"/>
                <a:gd name="connsiteX12" fmla="*/ 0 w 3889612"/>
                <a:gd name="connsiteY12" fmla="*/ 3757389 h 12529930"/>
                <a:gd name="connsiteX13" fmla="*/ 859 w 3889612"/>
                <a:gd name="connsiteY13" fmla="*/ 3724072 h 12529930"/>
                <a:gd name="connsiteX14" fmla="*/ 961 w 3889612"/>
                <a:gd name="connsiteY14" fmla="*/ 3657600 h 12529930"/>
                <a:gd name="connsiteX15" fmla="*/ 2574 w 3889612"/>
                <a:gd name="connsiteY15" fmla="*/ 3657600 h 12529930"/>
                <a:gd name="connsiteX16" fmla="*/ 4722 w 3889612"/>
                <a:gd name="connsiteY16" fmla="*/ 3574296 h 12529930"/>
                <a:gd name="connsiteX17" fmla="*/ 5135 w 3889612"/>
                <a:gd name="connsiteY17" fmla="*/ 3537369 h 12529930"/>
                <a:gd name="connsiteX18" fmla="*/ 4376 w 3889612"/>
                <a:gd name="connsiteY18" fmla="*/ 3309284 h 12529930"/>
                <a:gd name="connsiteX19" fmla="*/ 0 w 3889612"/>
                <a:gd name="connsiteY19" fmla="*/ 1953989 h 12529930"/>
                <a:gd name="connsiteX20" fmla="*/ 18670 w 3889612"/>
                <a:gd name="connsiteY20" fmla="*/ 1424337 h 12529930"/>
                <a:gd name="connsiteX21" fmla="*/ 296378 w 3889612"/>
                <a:gd name="connsiteY21" fmla="*/ 1255812 h 12529930"/>
                <a:gd name="connsiteX22" fmla="*/ 3473688 w 3889612"/>
                <a:gd name="connsiteY22" fmla="*/ 42574 h 12529930"/>
                <a:gd name="connsiteX23" fmla="*/ 3658817 w 3889612"/>
                <a:gd name="connsiteY23" fmla="*/ 87 h 12529930"/>
                <a:gd name="connsiteX24" fmla="*/ 3878582 w 3889612"/>
                <a:gd name="connsiteY24" fmla="*/ 539396 h 12529930"/>
                <a:gd name="connsiteX25" fmla="*/ 3878138 w 3889612"/>
                <a:gd name="connsiteY25" fmla="*/ 2216250 h 12529930"/>
                <a:gd name="connsiteX26" fmla="*/ 3878477 w 3889612"/>
                <a:gd name="connsiteY26" fmla="*/ 2222973 h 12529930"/>
                <a:gd name="connsiteX27" fmla="*/ 3878582 w 3889612"/>
                <a:gd name="connsiteY27" fmla="*/ 2342797 h 12529930"/>
                <a:gd name="connsiteX28" fmla="*/ 3878573 w 3889612"/>
                <a:gd name="connsiteY28" fmla="*/ 2376857 h 12529930"/>
                <a:gd name="connsiteX29" fmla="*/ 3883443 w 3889612"/>
                <a:gd name="connsiteY29" fmla="*/ 3916929 h 12529930"/>
                <a:gd name="connsiteX30" fmla="*/ 3888755 w 3889612"/>
                <a:gd name="connsiteY30" fmla="*/ 5596496 h 12529930"/>
                <a:gd name="connsiteX31" fmla="*/ 3888314 w 3889612"/>
                <a:gd name="connsiteY31" fmla="*/ 7260574 h 12529930"/>
                <a:gd name="connsiteX32" fmla="*/ 3888755 w 3889612"/>
                <a:gd name="connsiteY32" fmla="*/ 7399896 h 12529930"/>
                <a:gd name="connsiteX33" fmla="*/ 3889610 w 3889612"/>
                <a:gd name="connsiteY33" fmla="*/ 8245608 h 12529930"/>
                <a:gd name="connsiteX34" fmla="*/ 3889064 w 3889612"/>
                <a:gd name="connsiteY34" fmla="*/ 8602399 h 12529930"/>
                <a:gd name="connsiteX35" fmla="*/ 3889612 w 3889612"/>
                <a:gd name="connsiteY35" fmla="*/ 8772541 h 12529930"/>
                <a:gd name="connsiteX36" fmla="*/ 3888752 w 3889612"/>
                <a:gd name="connsiteY36" fmla="*/ 8805858 h 12529930"/>
                <a:gd name="connsiteX37" fmla="*/ 3888651 w 3889612"/>
                <a:gd name="connsiteY37" fmla="*/ 8872330 h 12529930"/>
                <a:gd name="connsiteX38" fmla="*/ 3887038 w 3889612"/>
                <a:gd name="connsiteY38" fmla="*/ 8872330 h 12529930"/>
                <a:gd name="connsiteX39" fmla="*/ 3884890 w 3889612"/>
                <a:gd name="connsiteY39" fmla="*/ 8955634 h 12529930"/>
                <a:gd name="connsiteX40" fmla="*/ 3884477 w 3889612"/>
                <a:gd name="connsiteY40" fmla="*/ 8992561 h 12529930"/>
                <a:gd name="connsiteX41" fmla="*/ 3885236 w 3889612"/>
                <a:gd name="connsiteY41" fmla="*/ 9220646 h 12529930"/>
                <a:gd name="connsiteX42" fmla="*/ 3889612 w 3889612"/>
                <a:gd name="connsiteY42" fmla="*/ 10575941 h 12529930"/>
                <a:gd name="connsiteX43" fmla="*/ 3870942 w 3889612"/>
                <a:gd name="connsiteY43" fmla="*/ 11105593 h 12529930"/>
                <a:gd name="connsiteX44" fmla="*/ 3593234 w 3889612"/>
                <a:gd name="connsiteY44" fmla="*/ 11274118 h 12529930"/>
                <a:gd name="connsiteX45" fmla="*/ 415924 w 3889612"/>
                <a:gd name="connsiteY45" fmla="*/ 12487356 h 12529930"/>
                <a:gd name="connsiteX46" fmla="*/ 230795 w 3889612"/>
                <a:gd name="connsiteY46" fmla="*/ 12529843 h 1252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89612" h="12529930">
                  <a:moveTo>
                    <a:pt x="230795" y="12529843"/>
                  </a:moveTo>
                  <a:cubicBezTo>
                    <a:pt x="15099" y="12524238"/>
                    <a:pt x="8186" y="12250161"/>
                    <a:pt x="11030" y="11990534"/>
                  </a:cubicBezTo>
                  <a:lnTo>
                    <a:pt x="11474" y="10313680"/>
                  </a:lnTo>
                  <a:lnTo>
                    <a:pt x="11135" y="10306957"/>
                  </a:lnTo>
                  <a:cubicBezTo>
                    <a:pt x="10386" y="10267361"/>
                    <a:pt x="10593" y="10227076"/>
                    <a:pt x="11030" y="10187133"/>
                  </a:cubicBezTo>
                  <a:lnTo>
                    <a:pt x="11039" y="10153073"/>
                  </a:lnTo>
                  <a:lnTo>
                    <a:pt x="6169" y="8613001"/>
                  </a:lnTo>
                  <a:cubicBezTo>
                    <a:pt x="4078" y="8054213"/>
                    <a:pt x="1987" y="7495402"/>
                    <a:pt x="857" y="6933434"/>
                  </a:cubicBezTo>
                  <a:lnTo>
                    <a:pt x="1298" y="5269356"/>
                  </a:lnTo>
                  <a:lnTo>
                    <a:pt x="857" y="5130034"/>
                  </a:lnTo>
                  <a:cubicBezTo>
                    <a:pt x="292" y="4849050"/>
                    <a:pt x="-33" y="4567276"/>
                    <a:pt x="2" y="4284322"/>
                  </a:cubicBezTo>
                  <a:lnTo>
                    <a:pt x="548" y="3927532"/>
                  </a:lnTo>
                  <a:lnTo>
                    <a:pt x="0" y="3757389"/>
                  </a:lnTo>
                  <a:lnTo>
                    <a:pt x="859" y="3724072"/>
                  </a:lnTo>
                  <a:lnTo>
                    <a:pt x="961" y="3657600"/>
                  </a:lnTo>
                  <a:lnTo>
                    <a:pt x="2574" y="3657600"/>
                  </a:lnTo>
                  <a:lnTo>
                    <a:pt x="4722" y="3574296"/>
                  </a:lnTo>
                  <a:lnTo>
                    <a:pt x="5135" y="3537369"/>
                  </a:lnTo>
                  <a:lnTo>
                    <a:pt x="4376" y="3309284"/>
                  </a:lnTo>
                  <a:cubicBezTo>
                    <a:pt x="2917" y="2866563"/>
                    <a:pt x="1459" y="2417070"/>
                    <a:pt x="0" y="1953989"/>
                  </a:cubicBezTo>
                  <a:cubicBezTo>
                    <a:pt x="10502" y="1673114"/>
                    <a:pt x="0" y="1553468"/>
                    <a:pt x="18670" y="1424337"/>
                  </a:cubicBezTo>
                  <a:cubicBezTo>
                    <a:pt x="64565" y="1356490"/>
                    <a:pt x="75845" y="1330226"/>
                    <a:pt x="296378" y="1255812"/>
                  </a:cubicBezTo>
                  <a:lnTo>
                    <a:pt x="3473688" y="42574"/>
                  </a:lnTo>
                  <a:cubicBezTo>
                    <a:pt x="3548147" y="11797"/>
                    <a:pt x="3609041" y="-1207"/>
                    <a:pt x="3658817" y="87"/>
                  </a:cubicBezTo>
                  <a:cubicBezTo>
                    <a:pt x="3874513" y="5692"/>
                    <a:pt x="3881426" y="279769"/>
                    <a:pt x="3878582" y="539396"/>
                  </a:cubicBezTo>
                  <a:lnTo>
                    <a:pt x="3878138" y="2216250"/>
                  </a:lnTo>
                  <a:lnTo>
                    <a:pt x="3878477" y="2222973"/>
                  </a:lnTo>
                  <a:cubicBezTo>
                    <a:pt x="3879226" y="2262569"/>
                    <a:pt x="3879019" y="2302854"/>
                    <a:pt x="3878582" y="2342797"/>
                  </a:cubicBezTo>
                  <a:lnTo>
                    <a:pt x="3878573" y="2376857"/>
                  </a:lnTo>
                  <a:lnTo>
                    <a:pt x="3883443" y="3916929"/>
                  </a:lnTo>
                  <a:cubicBezTo>
                    <a:pt x="3885534" y="4475717"/>
                    <a:pt x="3887625" y="5034528"/>
                    <a:pt x="3888755" y="5596496"/>
                  </a:cubicBezTo>
                  <a:lnTo>
                    <a:pt x="3888314" y="7260574"/>
                  </a:lnTo>
                  <a:lnTo>
                    <a:pt x="3888755" y="7399896"/>
                  </a:lnTo>
                  <a:cubicBezTo>
                    <a:pt x="3889320" y="7680880"/>
                    <a:pt x="3889645" y="7962654"/>
                    <a:pt x="3889610" y="8245608"/>
                  </a:cubicBezTo>
                  <a:lnTo>
                    <a:pt x="3889064" y="8602399"/>
                  </a:lnTo>
                  <a:lnTo>
                    <a:pt x="3889612" y="8772541"/>
                  </a:lnTo>
                  <a:lnTo>
                    <a:pt x="3888752" y="8805858"/>
                  </a:lnTo>
                  <a:lnTo>
                    <a:pt x="3888651" y="8872330"/>
                  </a:lnTo>
                  <a:lnTo>
                    <a:pt x="3887038" y="8872330"/>
                  </a:lnTo>
                  <a:lnTo>
                    <a:pt x="3884890" y="8955634"/>
                  </a:lnTo>
                  <a:lnTo>
                    <a:pt x="3884477" y="8992561"/>
                  </a:lnTo>
                  <a:lnTo>
                    <a:pt x="3885236" y="9220646"/>
                  </a:lnTo>
                  <a:cubicBezTo>
                    <a:pt x="3886695" y="9663367"/>
                    <a:pt x="3888153" y="10112860"/>
                    <a:pt x="3889612" y="10575941"/>
                  </a:cubicBezTo>
                  <a:cubicBezTo>
                    <a:pt x="3879110" y="10856816"/>
                    <a:pt x="3889612" y="10976462"/>
                    <a:pt x="3870942" y="11105593"/>
                  </a:cubicBezTo>
                  <a:cubicBezTo>
                    <a:pt x="3825047" y="11173440"/>
                    <a:pt x="3813767" y="11199704"/>
                    <a:pt x="3593234" y="11274118"/>
                  </a:cubicBezTo>
                  <a:lnTo>
                    <a:pt x="415924" y="12487356"/>
                  </a:lnTo>
                  <a:cubicBezTo>
                    <a:pt x="341465" y="12518133"/>
                    <a:pt x="280571" y="12531137"/>
                    <a:pt x="230795" y="12529843"/>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E"/>
            </a:p>
          </p:txBody>
        </p:sp>
        <p:pic>
          <p:nvPicPr>
            <p:cNvPr id="2" name="Picture 1" descr="A gold star on a black background&#10;&#10;Description automatically generated">
              <a:extLst>
                <a:ext uri="{FF2B5EF4-FFF2-40B4-BE49-F238E27FC236}">
                  <a16:creationId xmlns:a16="http://schemas.microsoft.com/office/drawing/2014/main" id="{44B5E2CD-285D-DE40-E22C-C9BBA97FF6B0}"/>
                </a:ext>
              </a:extLst>
            </p:cNvPr>
            <p:cNvPicPr>
              <a:picLocks noChangeAspect="1"/>
            </p:cNvPicPr>
            <p:nvPr/>
          </p:nvPicPr>
          <p:blipFill rotWithShape="1">
            <a:blip r:embed="rId2" cstate="screen">
              <a:biLevel thresh="75000"/>
              <a:alphaModFix amt="18000"/>
              <a:extLst>
                <a:ext uri="{28A0092B-C50C-407E-A947-70E740481C1C}">
                  <a14:useLocalDpi xmlns:a14="http://schemas.microsoft.com/office/drawing/2010/main"/>
                </a:ext>
              </a:extLst>
            </a:blip>
            <a:srcRect l="2580" r="50000"/>
            <a:stretch/>
          </p:blipFill>
          <p:spPr>
            <a:xfrm>
              <a:off x="5169533" y="6671984"/>
              <a:ext cx="1072725" cy="2461182"/>
            </a:xfrm>
            <a:prstGeom prst="rect">
              <a:avLst/>
            </a:prstGeom>
          </p:spPr>
        </p:pic>
      </p:grpSp>
    </p:spTree>
    <p:extLst>
      <p:ext uri="{BB962C8B-B14F-4D97-AF65-F5344CB8AC3E}">
        <p14:creationId xmlns:p14="http://schemas.microsoft.com/office/powerpoint/2010/main" val="2357568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OWER_USER_LAYOUT_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62CBF79-5CDE-49F7-989C-12645568491B}"/>
              </a:ext>
            </a:extLst>
          </p:cNvPr>
          <p:cNvSpPr/>
          <p:nvPr userDrawn="1"/>
        </p:nvSpPr>
        <p:spPr>
          <a:xfrm>
            <a:off x="0" y="-1"/>
            <a:ext cx="12193200" cy="6858000"/>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sp>
        <p:nvSpPr>
          <p:cNvPr id="5" name="Title 12">
            <a:extLst>
              <a:ext uri="{FF2B5EF4-FFF2-40B4-BE49-F238E27FC236}">
                <a16:creationId xmlns:a16="http://schemas.microsoft.com/office/drawing/2014/main" id="{A2E52EBB-3144-4007-97A4-DFDB34DE2749}"/>
              </a:ext>
            </a:extLst>
          </p:cNvPr>
          <p:cNvSpPr txBox="1">
            <a:spLocks/>
          </p:cNvSpPr>
          <p:nvPr userDrawn="1"/>
        </p:nvSpPr>
        <p:spPr>
          <a:xfrm>
            <a:off x="757110" y="1"/>
            <a:ext cx="9968556" cy="1258894"/>
          </a:xfrm>
          <a:prstGeom prst="rect">
            <a:avLst/>
          </a:prstGeom>
        </p:spPr>
        <p:txBody>
          <a:bodyPr vert="horz" wrap="square" lIns="0" tIns="0" rIns="0" bIns="0" rtlCol="0" anchor="ctr">
            <a:noAutofit/>
          </a:bodyPr>
          <a:lstStyle>
            <a:lvl1pPr algn="r" defTabSz="914400" rtl="1"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Sakkal Majalla" panose="02000000000000000000" pitchFamily="2" charset="-78"/>
              <a:ea typeface="+mj-ea"/>
              <a:cs typeface="Sakkal Majalla"/>
            </a:endParaRPr>
          </a:p>
        </p:txBody>
      </p:sp>
      <p:sp>
        <p:nvSpPr>
          <p:cNvPr id="10" name="Title 2">
            <a:extLst>
              <a:ext uri="{FF2B5EF4-FFF2-40B4-BE49-F238E27FC236}">
                <a16:creationId xmlns:a16="http://schemas.microsoft.com/office/drawing/2014/main" id="{E359C8D1-645E-E247-BF99-9550543DE20D}"/>
              </a:ext>
            </a:extLst>
          </p:cNvPr>
          <p:cNvSpPr>
            <a:spLocks noGrp="1"/>
          </p:cNvSpPr>
          <p:nvPr>
            <p:ph type="title" hasCustomPrompt="1"/>
          </p:nvPr>
        </p:nvSpPr>
        <p:spPr>
          <a:xfrm>
            <a:off x="5939985" y="3239555"/>
            <a:ext cx="4474015" cy="643050"/>
          </a:xfrm>
          <a:prstGeom prst="rect">
            <a:avLst/>
          </a:prstGeom>
        </p:spPr>
        <p:txBody>
          <a:bodyPr>
            <a:noAutofit/>
          </a:bodyPr>
          <a:lstStyle>
            <a:lvl1pPr algn="r" rtl="1">
              <a:defRPr sz="3200" b="1">
                <a:solidFill>
                  <a:schemeClr val="bg1"/>
                </a:solidFill>
                <a:latin typeface="Sakkal Majalla" panose="02000000000000000000" pitchFamily="2" charset="-78"/>
                <a:cs typeface="Sakkal Majalla" panose="02000000000000000000" pitchFamily="2" charset="-78"/>
              </a:defRPr>
            </a:lvl1pPr>
          </a:lstStyle>
          <a:p>
            <a:r>
              <a:rPr lang="ar-SA" dirty="0"/>
              <a:t>فاصل فرعي</a:t>
            </a:r>
            <a:endParaRPr lang="en-SA" dirty="0"/>
          </a:p>
        </p:txBody>
      </p:sp>
      <p:pic>
        <p:nvPicPr>
          <p:cNvPr id="14" name="Picture 13">
            <a:extLst>
              <a:ext uri="{FF2B5EF4-FFF2-40B4-BE49-F238E27FC236}">
                <a16:creationId xmlns:a16="http://schemas.microsoft.com/office/drawing/2014/main" id="{6ED435CC-ABEE-4DA6-B7D5-DBA416865BB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100000"/>
                    </a14:imgEffect>
                  </a14:imgLayer>
                </a14:imgProps>
              </a:ext>
            </a:extLst>
          </a:blip>
          <a:srcRect l="50000"/>
          <a:stretch/>
        </p:blipFill>
        <p:spPr>
          <a:xfrm>
            <a:off x="0" y="1136650"/>
            <a:ext cx="2291753" cy="4584700"/>
          </a:xfrm>
          <a:prstGeom prst="rect">
            <a:avLst/>
          </a:prstGeom>
        </p:spPr>
      </p:pic>
      <p:sp>
        <p:nvSpPr>
          <p:cNvPr id="12" name="Slide Number Placeholder 2">
            <a:extLst>
              <a:ext uri="{FF2B5EF4-FFF2-40B4-BE49-F238E27FC236}">
                <a16:creationId xmlns:a16="http://schemas.microsoft.com/office/drawing/2014/main" id="{9975BF1D-547A-4B83-BDB9-9E7EE620E415}"/>
              </a:ext>
            </a:extLst>
          </p:cNvPr>
          <p:cNvSpPr>
            <a:spLocks noGrp="1"/>
          </p:cNvSpPr>
          <p:nvPr>
            <p:ph type="sldNum" sz="quarter" idx="4"/>
          </p:nvPr>
        </p:nvSpPr>
        <p:spPr>
          <a:xfrm>
            <a:off x="203842" y="6484196"/>
            <a:ext cx="2743200" cy="365125"/>
          </a:xfrm>
          <a:prstGeom prst="rect">
            <a:avLst/>
          </a:prstGeom>
          <a:ln>
            <a:noFill/>
          </a:ln>
        </p:spPr>
        <p:txBody>
          <a:bodyPr vert="horz" lIns="91440" tIns="45720" rIns="91440" bIns="45720" rtlCol="0" anchor="ctr"/>
          <a:lstStyle>
            <a:lvl1pPr algn="l" rtl="1">
              <a:defRPr sz="1200">
                <a:solidFill>
                  <a:schemeClr val="bg1"/>
                </a:solidFill>
              </a:defRPr>
            </a:lvl1pPr>
          </a:lstStyle>
          <a:p>
            <a:fld id="{E75C2C89-F887-4946-9289-77479B29E3CB}" type="slidenum">
              <a:rPr lang="en-US" smtClean="0"/>
              <a:pPr/>
              <a:t>‹#›</a:t>
            </a:fld>
            <a:endParaRPr lang="en-US"/>
          </a:p>
        </p:txBody>
      </p:sp>
      <p:cxnSp>
        <p:nvCxnSpPr>
          <p:cNvPr id="13" name="Straight Connector 12">
            <a:extLst>
              <a:ext uri="{FF2B5EF4-FFF2-40B4-BE49-F238E27FC236}">
                <a16:creationId xmlns:a16="http://schemas.microsoft.com/office/drawing/2014/main" id="{D8060F16-2CC7-4B51-9DF9-6843D117EBC7}"/>
              </a:ext>
            </a:extLst>
          </p:cNvPr>
          <p:cNvCxnSpPr/>
          <p:nvPr userDrawn="1"/>
        </p:nvCxnSpPr>
        <p:spPr>
          <a:xfrm>
            <a:off x="529872" y="6545987"/>
            <a:ext cx="0" cy="2502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5750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dirty="0"/>
          </a:p>
        </p:txBody>
      </p:sp>
      <p:sp>
        <p:nvSpPr>
          <p:cNvPr id="16" name="Rectangle 15">
            <a:extLst>
              <a:ext uri="{FF2B5EF4-FFF2-40B4-BE49-F238E27FC236}">
                <a16:creationId xmlns:a16="http://schemas.microsoft.com/office/drawing/2014/main" id="{E35F1249-358F-4AB6-BEBB-D366A5AE727B}"/>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1" name="Straight Connector 20">
            <a:extLst>
              <a:ext uri="{FF2B5EF4-FFF2-40B4-BE49-F238E27FC236}">
                <a16:creationId xmlns:a16="http://schemas.microsoft.com/office/drawing/2014/main" id="{78677129-C876-46CB-8461-A9327D5EFDE7}"/>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E0899012-7999-5D4E-9FFE-7CFBDBD15C5D}"/>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11" name="Title Placeholder 1">
            <a:extLst>
              <a:ext uri="{FF2B5EF4-FFF2-40B4-BE49-F238E27FC236}">
                <a16:creationId xmlns:a16="http://schemas.microsoft.com/office/drawing/2014/main" id="{BBAFBB49-585E-6941-921E-5966D34EA228}"/>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sp>
        <p:nvSpPr>
          <p:cNvPr id="12" name="Text Placeholder 7">
            <a:extLst>
              <a:ext uri="{FF2B5EF4-FFF2-40B4-BE49-F238E27FC236}">
                <a16:creationId xmlns:a16="http://schemas.microsoft.com/office/drawing/2014/main" id="{3356325A-0873-46D6-9511-ACDCAB333322}"/>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3" name="Text Placeholder 18">
            <a:extLst>
              <a:ext uri="{FF2B5EF4-FFF2-40B4-BE49-F238E27FC236}">
                <a16:creationId xmlns:a16="http://schemas.microsoft.com/office/drawing/2014/main" id="{E8FECEB9-CBDD-4A39-B39D-97D1D0261D12}"/>
              </a:ext>
            </a:extLst>
          </p:cNvPr>
          <p:cNvSpPr>
            <a:spLocks noGrp="1"/>
          </p:cNvSpPr>
          <p:nvPr>
            <p:ph idx="1" hasCustomPrompt="1"/>
          </p:nvPr>
        </p:nvSpPr>
        <p:spPr>
          <a:xfrm>
            <a:off x="534825" y="1666706"/>
            <a:ext cx="10936449" cy="4435331"/>
          </a:xfrm>
          <a:prstGeom prst="rect">
            <a:avLst/>
          </a:prstGeom>
        </p:spPr>
        <p:txBody>
          <a:bodyPr vert="horz" lIns="0" tIns="0" rIns="0" bIns="0" rtlCol="0">
            <a:noAutofit/>
          </a:bodyPr>
          <a:lstStyle>
            <a:lvl1pPr marL="0" indent="0" algn="r" rtl="1">
              <a:buFontTx/>
              <a:buNone/>
              <a:defRPr sz="2000" b="0">
                <a:solidFill>
                  <a:schemeClr val="tx1"/>
                </a:solidFill>
                <a:latin typeface="+mn-lt"/>
              </a:defRPr>
            </a:lvl1pPr>
            <a:lvl2pPr marL="139700" indent="-139700" algn="r" rtl="1">
              <a:buClrTx/>
              <a:buSzPct val="100000"/>
              <a:buFont typeface="Arial" panose="020B0604020202020204" pitchFamily="34" charset="0"/>
              <a:buChar char="•"/>
              <a:defRPr sz="1800" b="0">
                <a:solidFill>
                  <a:schemeClr val="tx1"/>
                </a:solidFill>
                <a:latin typeface="+mj-lt"/>
              </a:defRPr>
            </a:lvl2pPr>
            <a:lvl3pPr marL="304800" indent="-139700" algn="r" rtl="1">
              <a:buClrTx/>
              <a:buSzPct val="100000"/>
              <a:buFont typeface="Arial" panose="020B0604020202020204" pitchFamily="34" charset="0"/>
              <a:buChar char="−"/>
              <a:defRPr sz="1400" b="0">
                <a:solidFill>
                  <a:schemeClr val="tx1"/>
                </a:solidFill>
                <a:latin typeface="+mn-lt"/>
              </a:defRPr>
            </a:lvl3pPr>
            <a:lvl4pPr marL="469900" indent="-139700" algn="r" rtl="1">
              <a:buClrTx/>
              <a:buSzPct val="100000"/>
              <a:buFont typeface="Arial" panose="020B0604020202020204" pitchFamily="34" charset="0"/>
              <a:buChar char="◦"/>
              <a:defRPr sz="1200" b="0">
                <a:solidFill>
                  <a:schemeClr val="tx1"/>
                </a:solidFill>
                <a:latin typeface="+mn-lt"/>
              </a:defRPr>
            </a:lvl4pPr>
            <a:lvl5pPr marL="635000" indent="-139700" algn="r" rtl="1">
              <a:buClrTx/>
              <a:buSzPct val="100000"/>
              <a:buFont typeface="Arial" panose="020B0604020202020204" pitchFamily="34" charset="0"/>
              <a:buChar char="−"/>
              <a:defRPr sz="1100" b="0">
                <a:solidFill>
                  <a:schemeClr val="tx1"/>
                </a:solidFill>
                <a:latin typeface="+mn-lt"/>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pic>
        <p:nvPicPr>
          <p:cNvPr id="18" name="Picture 17">
            <a:extLst>
              <a:ext uri="{FF2B5EF4-FFF2-40B4-BE49-F238E27FC236}">
                <a16:creationId xmlns:a16="http://schemas.microsoft.com/office/drawing/2014/main" id="{2FA3E448-750C-F34B-AFA2-6EFABDED42C6}"/>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25" name="Picture 24" descr="A black and white logo&#10;&#10;Description automatically generated with low confidence">
            <a:extLst>
              <a:ext uri="{FF2B5EF4-FFF2-40B4-BE49-F238E27FC236}">
                <a16:creationId xmlns:a16="http://schemas.microsoft.com/office/drawing/2014/main" id="{A7849283-2CB6-EB43-A9F2-8F1B54EF1489}"/>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2295061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534825" y="1666706"/>
            <a:ext cx="10936449" cy="4435331"/>
          </a:xfrm>
          <a:prstGeom prst="rect">
            <a:avLst/>
          </a:prstGeom>
        </p:spPr>
        <p:txBody>
          <a:bodyPr vert="horz" lIns="0" tIns="0" rIns="0" bIns="0" rtlCol="0">
            <a:noAutofit/>
          </a:bodyPr>
          <a:lstStyle>
            <a:lvl1pPr marL="0" indent="0" algn="r" rtl="1">
              <a:buFontTx/>
              <a:buNone/>
              <a:defRPr sz="2000" b="0">
                <a:solidFill>
                  <a:schemeClr val="tx1"/>
                </a:solidFill>
                <a:latin typeface="+mn-lt"/>
              </a:defRPr>
            </a:lvl1pPr>
            <a:lvl2pPr marL="139700" indent="-139700" algn="r" rtl="1">
              <a:buClrTx/>
              <a:buSzPct val="100000"/>
              <a:buFont typeface="Arial" panose="020B0604020202020204" pitchFamily="34" charset="0"/>
              <a:buChar char="•"/>
              <a:defRPr sz="1800" b="0">
                <a:solidFill>
                  <a:schemeClr val="tx1"/>
                </a:solidFill>
                <a:latin typeface="+mj-lt"/>
              </a:defRPr>
            </a:lvl2pPr>
            <a:lvl3pPr marL="304800" indent="-139700" algn="r" rtl="1">
              <a:buClrTx/>
              <a:buSzPct val="100000"/>
              <a:buFont typeface="Arial" panose="020B0604020202020204" pitchFamily="34" charset="0"/>
              <a:buChar char="−"/>
              <a:defRPr sz="1400" b="0">
                <a:solidFill>
                  <a:schemeClr val="tx1"/>
                </a:solidFill>
                <a:latin typeface="+mn-lt"/>
              </a:defRPr>
            </a:lvl3pPr>
            <a:lvl4pPr marL="469900" indent="-139700" algn="r" rtl="1">
              <a:buClrTx/>
              <a:buSzPct val="100000"/>
              <a:buFont typeface="Arial" panose="020B0604020202020204" pitchFamily="34" charset="0"/>
              <a:buChar char="◦"/>
              <a:defRPr sz="1200" b="0">
                <a:solidFill>
                  <a:schemeClr val="tx1"/>
                </a:solidFill>
                <a:latin typeface="+mn-lt"/>
              </a:defRPr>
            </a:lvl4pPr>
            <a:lvl5pPr marL="635000" indent="-139700" algn="r" rtl="1">
              <a:buClrTx/>
              <a:buSzPct val="100000"/>
              <a:buFont typeface="Arial" panose="020B0604020202020204" pitchFamily="34" charset="0"/>
              <a:buChar char="−"/>
              <a:defRPr sz="1100" b="0">
                <a:solidFill>
                  <a:schemeClr val="tx1"/>
                </a:solidFill>
                <a:latin typeface="+mn-lt"/>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6" name="Rectangle 15">
            <a:extLst>
              <a:ext uri="{FF2B5EF4-FFF2-40B4-BE49-F238E27FC236}">
                <a16:creationId xmlns:a16="http://schemas.microsoft.com/office/drawing/2014/main" id="{E35F1249-358F-4AB6-BEBB-D366A5AE727B}"/>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1" name="Straight Connector 20">
            <a:extLst>
              <a:ext uri="{FF2B5EF4-FFF2-40B4-BE49-F238E27FC236}">
                <a16:creationId xmlns:a16="http://schemas.microsoft.com/office/drawing/2014/main" id="{78677129-C876-46CB-8461-A9327D5EFDE7}"/>
              </a:ext>
            </a:extLst>
          </p:cNvPr>
          <p:cNvCxnSpPr/>
          <p:nvPr userDrawn="1"/>
        </p:nvCxnSpPr>
        <p:spPr>
          <a:xfrm>
            <a:off x="529872" y="6545987"/>
            <a:ext cx="0" cy="250219"/>
          </a:xfrm>
          <a:prstGeom prst="line">
            <a:avLst/>
          </a:prstGeom>
          <a:ln>
            <a:solidFill>
              <a:srgbClr val="12420D"/>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E0899012-7999-5D4E-9FFE-7CFBDBD15C5D}"/>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11" name="Title Placeholder 1">
            <a:extLst>
              <a:ext uri="{FF2B5EF4-FFF2-40B4-BE49-F238E27FC236}">
                <a16:creationId xmlns:a16="http://schemas.microsoft.com/office/drawing/2014/main" id="{BBAFBB49-585E-6941-921E-5966D34EA228}"/>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sp>
        <p:nvSpPr>
          <p:cNvPr id="12" name="Text Placeholder 7">
            <a:extLst>
              <a:ext uri="{FF2B5EF4-FFF2-40B4-BE49-F238E27FC236}">
                <a16:creationId xmlns:a16="http://schemas.microsoft.com/office/drawing/2014/main" id="{3356325A-0873-46D6-9511-ACDCAB333322}"/>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pic>
        <p:nvPicPr>
          <p:cNvPr id="13" name="Picture 12">
            <a:extLst>
              <a:ext uri="{FF2B5EF4-FFF2-40B4-BE49-F238E27FC236}">
                <a16:creationId xmlns:a16="http://schemas.microsoft.com/office/drawing/2014/main" id="{420C1DE7-DE4E-6B4E-8F10-92D6D2683431}"/>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18" name="Picture 17" descr="A picture containing shape&#10;&#10;Description automatically generated">
            <a:extLst>
              <a:ext uri="{FF2B5EF4-FFF2-40B4-BE49-F238E27FC236}">
                <a16:creationId xmlns:a16="http://schemas.microsoft.com/office/drawing/2014/main" id="{9248925E-283D-6141-94E7-5E761C811887}"/>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14536015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hasCustomPrompt="1"/>
          </p:nvPr>
        </p:nvSpPr>
        <p:spPr>
          <a:xfrm>
            <a:off x="526360" y="1665289"/>
            <a:ext cx="5572660"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3" name="Chart Placeholder 2"/>
          <p:cNvSpPr>
            <a:spLocks noGrp="1"/>
          </p:cNvSpPr>
          <p:nvPr>
            <p:ph type="chart" sz="quarter" idx="21" hasCustomPrompt="1"/>
          </p:nvPr>
        </p:nvSpPr>
        <p:spPr>
          <a:xfrm>
            <a:off x="6341223" y="2125013"/>
            <a:ext cx="5130051" cy="3996000"/>
          </a:xfrm>
          <a:prstGeom prst="rect">
            <a:avLst/>
          </a:prstGeom>
        </p:spPr>
        <p:txBody>
          <a:bodyPr>
            <a:noAutofit/>
          </a:bodyPr>
          <a:lstStyle>
            <a:lvl1pPr algn="r" rtl="1">
              <a:defRPr sz="1800" b="0"/>
            </a:lvl1pPr>
          </a:lstStyle>
          <a:p>
            <a:r>
              <a:rPr lang="ar-SA" noProof="0" dirty="0"/>
              <a:t>اضغط هنا لإضافة ايقونة أو رسم بياني</a:t>
            </a:r>
          </a:p>
        </p:txBody>
      </p:sp>
      <p:sp>
        <p:nvSpPr>
          <p:cNvPr id="6" name="Text Placeholder 5"/>
          <p:cNvSpPr>
            <a:spLocks noGrp="1"/>
          </p:cNvSpPr>
          <p:nvPr>
            <p:ph type="body" sz="quarter" idx="22" hasCustomPrompt="1"/>
          </p:nvPr>
        </p:nvSpPr>
        <p:spPr>
          <a:xfrm>
            <a:off x="6341223" y="1665288"/>
            <a:ext cx="5130051" cy="420687"/>
          </a:xfrm>
          <a:prstGeom prst="rect">
            <a:avLst/>
          </a:prstGeom>
        </p:spPr>
        <p:txBody>
          <a:bodyPr>
            <a:noAutofit/>
          </a:bodyPr>
          <a:lstStyle>
            <a:lvl1pPr algn="r" rtl="1">
              <a:defRPr sz="2000" b="0"/>
            </a:lvl1pPr>
          </a:lstStyle>
          <a:p>
            <a:pPr lvl="0"/>
            <a:r>
              <a:rPr lang="ar-SA" noProof="0" dirty="0"/>
              <a:t>اضغط هنا لتعديل النص</a:t>
            </a:r>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Text Placeholder 7">
            <a:extLst>
              <a:ext uri="{FF2B5EF4-FFF2-40B4-BE49-F238E27FC236}">
                <a16:creationId xmlns:a16="http://schemas.microsoft.com/office/drawing/2014/main" id="{2CB49A23-7A8C-F946-A7CA-C81171CBFBE0}"/>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6" name="Rectangle 15">
            <a:extLst>
              <a:ext uri="{FF2B5EF4-FFF2-40B4-BE49-F238E27FC236}">
                <a16:creationId xmlns:a16="http://schemas.microsoft.com/office/drawing/2014/main" id="{3A238FFA-AB58-4462-B2DD-2AF57277FAA8}"/>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28A7E9A3-71D3-4675-81A9-3C8270C8A2EB}"/>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920DF114-3263-954B-ADF8-B616D4BDDB51}"/>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CC9445B9-3DFF-F04E-827A-D5F3F6D42544}"/>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4" name="Picture 23">
            <a:extLst>
              <a:ext uri="{FF2B5EF4-FFF2-40B4-BE49-F238E27FC236}">
                <a16:creationId xmlns:a16="http://schemas.microsoft.com/office/drawing/2014/main" id="{851E6C88-0BD2-4C4E-9BF9-180378A4F8A7}"/>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26" name="Picture 25" descr="A black and white logo&#10;&#10;Description automatically generated with low confidence">
            <a:extLst>
              <a:ext uri="{FF2B5EF4-FFF2-40B4-BE49-F238E27FC236}">
                <a16:creationId xmlns:a16="http://schemas.microsoft.com/office/drawing/2014/main" id="{470042AD-016C-9941-AC31-AA0675EF4936}"/>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5309224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ext and chart">
    <p:spTree>
      <p:nvGrpSpPr>
        <p:cNvPr id="1" name=""/>
        <p:cNvGrpSpPr/>
        <p:nvPr/>
      </p:nvGrpSpPr>
      <p:grpSpPr>
        <a:xfrm>
          <a:off x="0" y="0"/>
          <a:ext cx="0" cy="0"/>
          <a:chOff x="0" y="0"/>
          <a:chExt cx="0" cy="0"/>
        </a:xfrm>
      </p:grpSpPr>
      <p:sp>
        <p:nvSpPr>
          <p:cNvPr id="10" name="Content Placeholder 3"/>
          <p:cNvSpPr>
            <a:spLocks noGrp="1"/>
          </p:cNvSpPr>
          <p:nvPr>
            <p:ph sz="quarter" idx="10" hasCustomPrompt="1"/>
          </p:nvPr>
        </p:nvSpPr>
        <p:spPr>
          <a:xfrm>
            <a:off x="526360" y="1665289"/>
            <a:ext cx="5572660"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3" name="Chart Placeholder 2"/>
          <p:cNvSpPr>
            <a:spLocks noGrp="1"/>
          </p:cNvSpPr>
          <p:nvPr>
            <p:ph type="chart" sz="quarter" idx="21" hasCustomPrompt="1"/>
          </p:nvPr>
        </p:nvSpPr>
        <p:spPr>
          <a:xfrm>
            <a:off x="6341223" y="2125013"/>
            <a:ext cx="5130051" cy="3996000"/>
          </a:xfrm>
          <a:prstGeom prst="rect">
            <a:avLst/>
          </a:prstGeom>
        </p:spPr>
        <p:txBody>
          <a:bodyPr>
            <a:noAutofit/>
          </a:bodyPr>
          <a:lstStyle>
            <a:lvl1pPr algn="r" rtl="1">
              <a:defRPr sz="1800" b="0"/>
            </a:lvl1pPr>
          </a:lstStyle>
          <a:p>
            <a:r>
              <a:rPr lang="ar-SA" noProof="0" dirty="0"/>
              <a:t>اضغط هنا لإضافة ايقونة أو رسم بياني</a:t>
            </a:r>
          </a:p>
        </p:txBody>
      </p:sp>
      <p:sp>
        <p:nvSpPr>
          <p:cNvPr id="6" name="Text Placeholder 5"/>
          <p:cNvSpPr>
            <a:spLocks noGrp="1"/>
          </p:cNvSpPr>
          <p:nvPr>
            <p:ph type="body" sz="quarter" idx="22" hasCustomPrompt="1"/>
          </p:nvPr>
        </p:nvSpPr>
        <p:spPr>
          <a:xfrm>
            <a:off x="6341223" y="1665288"/>
            <a:ext cx="5130051" cy="420687"/>
          </a:xfrm>
          <a:prstGeom prst="rect">
            <a:avLst/>
          </a:prstGeom>
        </p:spPr>
        <p:txBody>
          <a:bodyPr>
            <a:noAutofit/>
          </a:bodyPr>
          <a:lstStyle>
            <a:lvl1pPr algn="r" rtl="1">
              <a:defRPr sz="2000" b="0"/>
            </a:lvl1pPr>
          </a:lstStyle>
          <a:p>
            <a:pPr lvl="0"/>
            <a:r>
              <a:rPr lang="ar-SA" noProof="0" dirty="0"/>
              <a:t>اضغط هنا لتعديل النص</a:t>
            </a:r>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Text Placeholder 7">
            <a:extLst>
              <a:ext uri="{FF2B5EF4-FFF2-40B4-BE49-F238E27FC236}">
                <a16:creationId xmlns:a16="http://schemas.microsoft.com/office/drawing/2014/main" id="{2CB49A23-7A8C-F946-A7CA-C81171CBFBE0}"/>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6" name="Rectangle 15">
            <a:extLst>
              <a:ext uri="{FF2B5EF4-FFF2-40B4-BE49-F238E27FC236}">
                <a16:creationId xmlns:a16="http://schemas.microsoft.com/office/drawing/2014/main" id="{3A238FFA-AB58-4462-B2DD-2AF57277FAA8}"/>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28A7E9A3-71D3-4675-81A9-3C8270C8A2EB}"/>
              </a:ext>
            </a:extLst>
          </p:cNvPr>
          <p:cNvCxnSpPr/>
          <p:nvPr userDrawn="1"/>
        </p:nvCxnSpPr>
        <p:spPr>
          <a:xfrm>
            <a:off x="529872" y="6545987"/>
            <a:ext cx="0" cy="25021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B32C1C85-5C8C-DC4B-ACCE-1146635768B8}"/>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46512E3C-F157-3641-8BC1-588D7F1691FD}"/>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3" name="Picture 22">
            <a:extLst>
              <a:ext uri="{FF2B5EF4-FFF2-40B4-BE49-F238E27FC236}">
                <a16:creationId xmlns:a16="http://schemas.microsoft.com/office/drawing/2014/main" id="{53D3E016-1B31-4549-9571-DC7C2595B5DD}"/>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6CEAE7A8-2D19-314F-8FA0-496D819F2AD7}"/>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1934057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ext and chart">
    <p:spTree>
      <p:nvGrpSpPr>
        <p:cNvPr id="1" name=""/>
        <p:cNvGrpSpPr/>
        <p:nvPr/>
      </p:nvGrpSpPr>
      <p:grpSpPr>
        <a:xfrm>
          <a:off x="0" y="0"/>
          <a:ext cx="0" cy="0"/>
          <a:chOff x="0" y="0"/>
          <a:chExt cx="0" cy="0"/>
        </a:xfrm>
      </p:grpSpPr>
      <p:sp>
        <p:nvSpPr>
          <p:cNvPr id="10" name="Content Placeholder 3"/>
          <p:cNvSpPr>
            <a:spLocks noGrp="1"/>
          </p:cNvSpPr>
          <p:nvPr>
            <p:ph sz="quarter" idx="10" hasCustomPrompt="1"/>
          </p:nvPr>
        </p:nvSpPr>
        <p:spPr>
          <a:xfrm>
            <a:off x="526360" y="1665289"/>
            <a:ext cx="5258804"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Text Placeholder 7">
            <a:extLst>
              <a:ext uri="{FF2B5EF4-FFF2-40B4-BE49-F238E27FC236}">
                <a16:creationId xmlns:a16="http://schemas.microsoft.com/office/drawing/2014/main" id="{2CB49A23-7A8C-F946-A7CA-C81171CBFBE0}"/>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6" name="Rectangle 15">
            <a:extLst>
              <a:ext uri="{FF2B5EF4-FFF2-40B4-BE49-F238E27FC236}">
                <a16:creationId xmlns:a16="http://schemas.microsoft.com/office/drawing/2014/main" id="{3A238FFA-AB58-4462-B2DD-2AF57277FAA8}"/>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28A7E9A3-71D3-4675-81A9-3C8270C8A2EB}"/>
              </a:ext>
            </a:extLst>
          </p:cNvPr>
          <p:cNvCxnSpPr/>
          <p:nvPr userDrawn="1"/>
        </p:nvCxnSpPr>
        <p:spPr>
          <a:xfrm>
            <a:off x="529872" y="6545987"/>
            <a:ext cx="0" cy="25021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D4A93FBD-0D3E-41F2-92FC-B5EBA736B583}"/>
              </a:ext>
            </a:extLst>
          </p:cNvPr>
          <p:cNvSpPr>
            <a:spLocks noGrp="1"/>
          </p:cNvSpPr>
          <p:nvPr>
            <p:ph sz="quarter" idx="25" hasCustomPrompt="1"/>
          </p:nvPr>
        </p:nvSpPr>
        <p:spPr>
          <a:xfrm>
            <a:off x="6217469" y="1665289"/>
            <a:ext cx="5258805"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12" name="Text Placeholder 8">
            <a:extLst>
              <a:ext uri="{FF2B5EF4-FFF2-40B4-BE49-F238E27FC236}">
                <a16:creationId xmlns:a16="http://schemas.microsoft.com/office/drawing/2014/main" id="{0023EBB4-14D3-0E49-A8B4-E719BA2DDE39}"/>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DF9FD9D6-305C-624A-B43B-5232D61B2DDD}"/>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3" name="Picture 22">
            <a:extLst>
              <a:ext uri="{FF2B5EF4-FFF2-40B4-BE49-F238E27FC236}">
                <a16:creationId xmlns:a16="http://schemas.microsoft.com/office/drawing/2014/main" id="{3A94641A-1432-E747-BF65-E836FFA9570B}"/>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5F359C44-5BC0-FC48-8992-C04DA40613F6}"/>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1189144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ext and chart">
    <p:spTree>
      <p:nvGrpSpPr>
        <p:cNvPr id="1" name=""/>
        <p:cNvGrpSpPr/>
        <p:nvPr/>
      </p:nvGrpSpPr>
      <p:grpSpPr>
        <a:xfrm>
          <a:off x="0" y="0"/>
          <a:ext cx="0" cy="0"/>
          <a:chOff x="0" y="0"/>
          <a:chExt cx="0" cy="0"/>
        </a:xfrm>
      </p:grpSpPr>
      <p:sp>
        <p:nvSpPr>
          <p:cNvPr id="10" name="Content Placeholder 3"/>
          <p:cNvSpPr>
            <a:spLocks noGrp="1"/>
          </p:cNvSpPr>
          <p:nvPr>
            <p:ph sz="quarter" idx="10" hasCustomPrompt="1"/>
          </p:nvPr>
        </p:nvSpPr>
        <p:spPr>
          <a:xfrm>
            <a:off x="526360" y="1665289"/>
            <a:ext cx="5258804"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Text Placeholder 7">
            <a:extLst>
              <a:ext uri="{FF2B5EF4-FFF2-40B4-BE49-F238E27FC236}">
                <a16:creationId xmlns:a16="http://schemas.microsoft.com/office/drawing/2014/main" id="{2CB49A23-7A8C-F946-A7CA-C81171CBFBE0}"/>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6" name="Rectangle 15">
            <a:extLst>
              <a:ext uri="{FF2B5EF4-FFF2-40B4-BE49-F238E27FC236}">
                <a16:creationId xmlns:a16="http://schemas.microsoft.com/office/drawing/2014/main" id="{3A238FFA-AB58-4462-B2DD-2AF57277FAA8}"/>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28A7E9A3-71D3-4675-81A9-3C8270C8A2EB}"/>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D4A93FBD-0D3E-41F2-92FC-B5EBA736B583}"/>
              </a:ext>
            </a:extLst>
          </p:cNvPr>
          <p:cNvSpPr>
            <a:spLocks noGrp="1"/>
          </p:cNvSpPr>
          <p:nvPr>
            <p:ph sz="quarter" idx="25" hasCustomPrompt="1"/>
          </p:nvPr>
        </p:nvSpPr>
        <p:spPr>
          <a:xfrm>
            <a:off x="6217469" y="1665289"/>
            <a:ext cx="5258805" cy="4455725"/>
          </a:xfrm>
          <a:prstGeom prst="rect">
            <a:avLst/>
          </a:prstGeom>
        </p:spPr>
        <p:txBody>
          <a:bodyPr>
            <a:noAutofit/>
          </a:bodyPr>
          <a:lstStyle>
            <a:lvl1pPr marL="0" indent="0" algn="r" rtl="1">
              <a:buFontTx/>
              <a:buNone/>
              <a:tabLst>
                <a:tab pos="5029200" algn="r"/>
              </a:tabLst>
              <a:defRPr sz="2000" b="0">
                <a:solidFill>
                  <a:schemeClr val="tx1"/>
                </a:solidFill>
              </a:defRPr>
            </a:lvl1pPr>
            <a:lvl2pPr marL="139700" indent="-139700" algn="r" rtl="1">
              <a:buClrTx/>
              <a:buSzPct val="100000"/>
              <a:buFont typeface="Arial" panose="020B0604020202020204" pitchFamily="34" charset="0"/>
              <a:buChar char="•"/>
              <a:tabLst>
                <a:tab pos="5029200" algn="r"/>
              </a:tabLst>
              <a:defRPr sz="1800">
                <a:solidFill>
                  <a:schemeClr val="tx1"/>
                </a:solidFill>
              </a:defRPr>
            </a:lvl2pPr>
            <a:lvl3pPr marL="304800" indent="-139700" algn="r" rtl="1">
              <a:buClrTx/>
              <a:buSzPct val="100000"/>
              <a:buFont typeface="Arial" panose="020B0604020202020204" pitchFamily="34" charset="0"/>
              <a:buChar char="−"/>
              <a:tabLst>
                <a:tab pos="5029200" algn="r"/>
              </a:tabLst>
              <a:defRPr sz="1400">
                <a:solidFill>
                  <a:schemeClr val="tx1"/>
                </a:solidFill>
              </a:defRPr>
            </a:lvl3pPr>
            <a:lvl4pPr marL="469900" indent="-139700" algn="r" rtl="1">
              <a:buClrTx/>
              <a:buSzPct val="100000"/>
              <a:buFont typeface="Arial" panose="020B0604020202020204" pitchFamily="34" charset="0"/>
              <a:buChar char="◦"/>
              <a:tabLst>
                <a:tab pos="5029200" algn="r"/>
              </a:tabLst>
              <a:defRPr sz="1200">
                <a:solidFill>
                  <a:schemeClr val="tx1"/>
                </a:solidFill>
              </a:defRPr>
            </a:lvl4pPr>
            <a:lvl5pPr marL="635000" indent="-139700" algn="r" rtl="1">
              <a:buClrTx/>
              <a:buSzPct val="100000"/>
              <a:buFont typeface="Arial" panose="020B0604020202020204" pitchFamily="34" charset="0"/>
              <a:buChar char="−"/>
              <a:tabLst>
                <a:tab pos="5029200" algn="r"/>
              </a:tabLst>
              <a:defRPr sz="1050" baseline="0">
                <a:solidFill>
                  <a:schemeClr val="tx1"/>
                </a:solidFill>
              </a:defRPr>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a:p>
            <a:pPr lvl="4"/>
            <a:endParaRPr lang="en-US" noProof="0" dirty="0"/>
          </a:p>
        </p:txBody>
      </p:sp>
      <p:sp>
        <p:nvSpPr>
          <p:cNvPr id="25" name="Text Placeholder 8">
            <a:extLst>
              <a:ext uri="{FF2B5EF4-FFF2-40B4-BE49-F238E27FC236}">
                <a16:creationId xmlns:a16="http://schemas.microsoft.com/office/drawing/2014/main" id="{46CA9C92-D90E-654C-B28A-A3276A8BB4A7}"/>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26" name="Title Placeholder 1">
            <a:extLst>
              <a:ext uri="{FF2B5EF4-FFF2-40B4-BE49-F238E27FC236}">
                <a16:creationId xmlns:a16="http://schemas.microsoft.com/office/drawing/2014/main" id="{94BEEC46-732C-184B-B35D-96A21C924534}"/>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8" name="Picture 27">
            <a:extLst>
              <a:ext uri="{FF2B5EF4-FFF2-40B4-BE49-F238E27FC236}">
                <a16:creationId xmlns:a16="http://schemas.microsoft.com/office/drawing/2014/main" id="{97C0761E-2CE5-794E-BF5D-4459EFE08BAA}"/>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30" name="Picture 29" descr="A black and white logo&#10;&#10;Description automatically generated with low confidence">
            <a:extLst>
              <a:ext uri="{FF2B5EF4-FFF2-40B4-BE49-F238E27FC236}">
                <a16:creationId xmlns:a16="http://schemas.microsoft.com/office/drawing/2014/main" id="{58179359-C036-7D40-BEF0-C1311D93FB7F}"/>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19925263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3 char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7F1BB35-57CC-43E6-B43D-27DF40DDEC90}"/>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sp>
        <p:nvSpPr>
          <p:cNvPr id="17" name="Chart Placeholder 3"/>
          <p:cNvSpPr>
            <a:spLocks noGrp="1"/>
          </p:cNvSpPr>
          <p:nvPr>
            <p:ph type="chart" sz="quarter" idx="15" hasCustomPrompt="1"/>
          </p:nvPr>
        </p:nvSpPr>
        <p:spPr>
          <a:xfrm>
            <a:off x="526359" y="2051999"/>
            <a:ext cx="3328416"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18" name="Text Placeholder 8"/>
          <p:cNvSpPr>
            <a:spLocks noGrp="1"/>
          </p:cNvSpPr>
          <p:nvPr>
            <p:ph type="body" sz="quarter" idx="18" hasCustomPrompt="1"/>
          </p:nvPr>
        </p:nvSpPr>
        <p:spPr>
          <a:xfrm>
            <a:off x="524009" y="1657919"/>
            <a:ext cx="3328416" cy="356465"/>
          </a:xfrm>
          <a:prstGeom prst="rect">
            <a:avLst/>
          </a:prstGeom>
        </p:spPr>
        <p:txBody>
          <a:bodyPr>
            <a:noAutofit/>
          </a:bodyPr>
          <a:lstStyle>
            <a:lvl1pPr algn="r" rtl="1">
              <a:defRPr sz="2000" b="0"/>
            </a:lvl1pPr>
          </a:lstStyle>
          <a:p>
            <a:pPr lvl="0"/>
            <a:r>
              <a:rPr lang="ar-SA" noProof="0" dirty="0"/>
              <a:t>اضغط هنا لتعديل النص</a:t>
            </a:r>
          </a:p>
        </p:txBody>
      </p:sp>
      <p:sp>
        <p:nvSpPr>
          <p:cNvPr id="7" name="Chart Placeholder 3"/>
          <p:cNvSpPr>
            <a:spLocks noGrp="1"/>
          </p:cNvSpPr>
          <p:nvPr>
            <p:ph type="chart" sz="quarter" idx="19" hasCustomPrompt="1"/>
          </p:nvPr>
        </p:nvSpPr>
        <p:spPr>
          <a:xfrm>
            <a:off x="4333580" y="2051999"/>
            <a:ext cx="3328416"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8" name="Text Placeholder 8"/>
          <p:cNvSpPr>
            <a:spLocks noGrp="1"/>
          </p:cNvSpPr>
          <p:nvPr>
            <p:ph type="body" sz="quarter" idx="20" hasCustomPrompt="1"/>
          </p:nvPr>
        </p:nvSpPr>
        <p:spPr>
          <a:xfrm>
            <a:off x="4332405" y="1657919"/>
            <a:ext cx="3328416" cy="356465"/>
          </a:xfrm>
          <a:prstGeom prst="rect">
            <a:avLst/>
          </a:prstGeom>
        </p:spPr>
        <p:txBody>
          <a:bodyPr>
            <a:noAutofit/>
          </a:bodyPr>
          <a:lstStyle>
            <a:lvl1pPr algn="r" rtl="1">
              <a:defRPr sz="2000" b="0"/>
            </a:lvl1pPr>
          </a:lstStyle>
          <a:p>
            <a:pPr lvl="0"/>
            <a:r>
              <a:rPr lang="ar-SA" noProof="0" dirty="0"/>
              <a:t>اضغط هنا لتعديل النص</a:t>
            </a:r>
          </a:p>
        </p:txBody>
      </p:sp>
      <p:sp>
        <p:nvSpPr>
          <p:cNvPr id="10" name="Text Placeholder 8"/>
          <p:cNvSpPr>
            <a:spLocks noGrp="1"/>
          </p:cNvSpPr>
          <p:nvPr>
            <p:ph type="body" sz="quarter" idx="22" hasCustomPrompt="1"/>
          </p:nvPr>
        </p:nvSpPr>
        <p:spPr>
          <a:xfrm>
            <a:off x="8140801" y="1657919"/>
            <a:ext cx="3330473" cy="362051"/>
          </a:xfrm>
          <a:prstGeom prst="rect">
            <a:avLst/>
          </a:prstGeom>
        </p:spPr>
        <p:txBody>
          <a:bodyPr>
            <a:noAutofit/>
          </a:bodyPr>
          <a:lstStyle>
            <a:lvl1pPr algn="r" rtl="1">
              <a:defRPr sz="2000" b="0"/>
            </a:lvl1pPr>
          </a:lstStyle>
          <a:p>
            <a:pPr lvl="0"/>
            <a:r>
              <a:rPr lang="ar-SA" noProof="0" dirty="0"/>
              <a:t>اضغط هنا لتعديل النص</a:t>
            </a:r>
          </a:p>
        </p:txBody>
      </p:sp>
      <p:sp>
        <p:nvSpPr>
          <p:cNvPr id="12"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21" name="Text Placeholder 7">
            <a:extLst>
              <a:ext uri="{FF2B5EF4-FFF2-40B4-BE49-F238E27FC236}">
                <a16:creationId xmlns:a16="http://schemas.microsoft.com/office/drawing/2014/main" id="{6FAA043D-E9F4-724A-9FD2-6941775417AF}"/>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cxnSp>
        <p:nvCxnSpPr>
          <p:cNvPr id="26" name="Straight Connector 25">
            <a:extLst>
              <a:ext uri="{FF2B5EF4-FFF2-40B4-BE49-F238E27FC236}">
                <a16:creationId xmlns:a16="http://schemas.microsoft.com/office/drawing/2014/main" id="{1339EF7F-DEC9-428E-8D01-CA36A3CD0482}"/>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Chart Placeholder 3">
            <a:extLst>
              <a:ext uri="{FF2B5EF4-FFF2-40B4-BE49-F238E27FC236}">
                <a16:creationId xmlns:a16="http://schemas.microsoft.com/office/drawing/2014/main" id="{C810BC7C-28E5-4317-B42E-9444F33F9920}"/>
              </a:ext>
            </a:extLst>
          </p:cNvPr>
          <p:cNvSpPr>
            <a:spLocks noGrp="1"/>
          </p:cNvSpPr>
          <p:nvPr>
            <p:ph type="chart" sz="quarter" idx="25" hasCustomPrompt="1"/>
          </p:nvPr>
        </p:nvSpPr>
        <p:spPr>
          <a:xfrm>
            <a:off x="8140801" y="2051999"/>
            <a:ext cx="3330474"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16" name="Text Placeholder 8">
            <a:extLst>
              <a:ext uri="{FF2B5EF4-FFF2-40B4-BE49-F238E27FC236}">
                <a16:creationId xmlns:a16="http://schemas.microsoft.com/office/drawing/2014/main" id="{28ED361F-B38F-1745-AC6B-E98C44AF1F2F}"/>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23" name="Title Placeholder 1">
            <a:extLst>
              <a:ext uri="{FF2B5EF4-FFF2-40B4-BE49-F238E27FC236}">
                <a16:creationId xmlns:a16="http://schemas.microsoft.com/office/drawing/2014/main" id="{3EDB72C8-C348-DA41-A4B6-38BE284E1B2F}"/>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7" name="Picture 26">
            <a:extLst>
              <a:ext uri="{FF2B5EF4-FFF2-40B4-BE49-F238E27FC236}">
                <a16:creationId xmlns:a16="http://schemas.microsoft.com/office/drawing/2014/main" id="{914571F5-4E8A-B840-B531-47E60997930E}"/>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30" name="Picture 29" descr="A black and white logo&#10;&#10;Description automatically generated with low confidence">
            <a:extLst>
              <a:ext uri="{FF2B5EF4-FFF2-40B4-BE49-F238E27FC236}">
                <a16:creationId xmlns:a16="http://schemas.microsoft.com/office/drawing/2014/main" id="{4CFDB37E-949F-AF44-9683-83DA645395B1}"/>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666917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3 char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7F1BB35-57CC-43E6-B43D-27DF40DDEC90}"/>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sp>
        <p:nvSpPr>
          <p:cNvPr id="17" name="Chart Placeholder 3"/>
          <p:cNvSpPr>
            <a:spLocks noGrp="1"/>
          </p:cNvSpPr>
          <p:nvPr>
            <p:ph type="chart" sz="quarter" idx="15" hasCustomPrompt="1"/>
          </p:nvPr>
        </p:nvSpPr>
        <p:spPr>
          <a:xfrm>
            <a:off x="526359" y="2051999"/>
            <a:ext cx="3328416"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18" name="Text Placeholder 8"/>
          <p:cNvSpPr>
            <a:spLocks noGrp="1"/>
          </p:cNvSpPr>
          <p:nvPr>
            <p:ph type="body" sz="quarter" idx="18" hasCustomPrompt="1"/>
          </p:nvPr>
        </p:nvSpPr>
        <p:spPr>
          <a:xfrm>
            <a:off x="524009" y="1657919"/>
            <a:ext cx="3328416" cy="356465"/>
          </a:xfrm>
          <a:prstGeom prst="rect">
            <a:avLst/>
          </a:prstGeom>
        </p:spPr>
        <p:txBody>
          <a:bodyPr>
            <a:noAutofit/>
          </a:bodyPr>
          <a:lstStyle>
            <a:lvl1pPr algn="r" rtl="1">
              <a:defRPr sz="2000" b="0"/>
            </a:lvl1pPr>
          </a:lstStyle>
          <a:p>
            <a:pPr lvl="0"/>
            <a:r>
              <a:rPr lang="ar-SA" noProof="0" dirty="0"/>
              <a:t>اضغط هنا لتعديل النص</a:t>
            </a:r>
          </a:p>
        </p:txBody>
      </p:sp>
      <p:sp>
        <p:nvSpPr>
          <p:cNvPr id="7" name="Chart Placeholder 3"/>
          <p:cNvSpPr>
            <a:spLocks noGrp="1"/>
          </p:cNvSpPr>
          <p:nvPr>
            <p:ph type="chart" sz="quarter" idx="19" hasCustomPrompt="1"/>
          </p:nvPr>
        </p:nvSpPr>
        <p:spPr>
          <a:xfrm>
            <a:off x="4333580" y="2051999"/>
            <a:ext cx="3328416"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8" name="Text Placeholder 8"/>
          <p:cNvSpPr>
            <a:spLocks noGrp="1"/>
          </p:cNvSpPr>
          <p:nvPr>
            <p:ph type="body" sz="quarter" idx="20" hasCustomPrompt="1"/>
          </p:nvPr>
        </p:nvSpPr>
        <p:spPr>
          <a:xfrm>
            <a:off x="4332405" y="1657919"/>
            <a:ext cx="3328416" cy="356465"/>
          </a:xfrm>
          <a:prstGeom prst="rect">
            <a:avLst/>
          </a:prstGeom>
        </p:spPr>
        <p:txBody>
          <a:bodyPr>
            <a:noAutofit/>
          </a:bodyPr>
          <a:lstStyle>
            <a:lvl1pPr algn="r" rtl="1">
              <a:defRPr sz="2000" b="0"/>
            </a:lvl1pPr>
          </a:lstStyle>
          <a:p>
            <a:pPr lvl="0"/>
            <a:r>
              <a:rPr lang="ar-SA" noProof="0" dirty="0"/>
              <a:t>اضغط هنا لتعديل النص</a:t>
            </a:r>
          </a:p>
        </p:txBody>
      </p:sp>
      <p:sp>
        <p:nvSpPr>
          <p:cNvPr id="10" name="Text Placeholder 8"/>
          <p:cNvSpPr>
            <a:spLocks noGrp="1"/>
          </p:cNvSpPr>
          <p:nvPr>
            <p:ph type="body" sz="quarter" idx="22" hasCustomPrompt="1"/>
          </p:nvPr>
        </p:nvSpPr>
        <p:spPr>
          <a:xfrm>
            <a:off x="8140801" y="1657919"/>
            <a:ext cx="3330473" cy="362051"/>
          </a:xfrm>
          <a:prstGeom prst="rect">
            <a:avLst/>
          </a:prstGeom>
        </p:spPr>
        <p:txBody>
          <a:bodyPr>
            <a:noAutofit/>
          </a:bodyPr>
          <a:lstStyle>
            <a:lvl1pPr algn="r" rtl="1">
              <a:defRPr sz="2000" b="0"/>
            </a:lvl1pPr>
          </a:lstStyle>
          <a:p>
            <a:pPr lvl="0"/>
            <a:r>
              <a:rPr lang="ar-SA" noProof="0" dirty="0"/>
              <a:t>اضغط هنا لتعديل النص</a:t>
            </a:r>
          </a:p>
        </p:txBody>
      </p:sp>
      <p:sp>
        <p:nvSpPr>
          <p:cNvPr id="12"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21" name="Text Placeholder 7">
            <a:extLst>
              <a:ext uri="{FF2B5EF4-FFF2-40B4-BE49-F238E27FC236}">
                <a16:creationId xmlns:a16="http://schemas.microsoft.com/office/drawing/2014/main" id="{6FAA043D-E9F4-724A-9FD2-6941775417AF}"/>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cxnSp>
        <p:nvCxnSpPr>
          <p:cNvPr id="26" name="Straight Connector 25">
            <a:extLst>
              <a:ext uri="{FF2B5EF4-FFF2-40B4-BE49-F238E27FC236}">
                <a16:creationId xmlns:a16="http://schemas.microsoft.com/office/drawing/2014/main" id="{1339EF7F-DEC9-428E-8D01-CA36A3CD0482}"/>
              </a:ext>
            </a:extLst>
          </p:cNvPr>
          <p:cNvCxnSpPr/>
          <p:nvPr userDrawn="1"/>
        </p:nvCxnSpPr>
        <p:spPr>
          <a:xfrm>
            <a:off x="529872" y="6545987"/>
            <a:ext cx="0" cy="250219"/>
          </a:xfrm>
          <a:prstGeom prst="line">
            <a:avLst/>
          </a:prstGeom>
          <a:ln>
            <a:solidFill>
              <a:srgbClr val="12420D"/>
            </a:solidFill>
          </a:ln>
        </p:spPr>
        <p:style>
          <a:lnRef idx="1">
            <a:schemeClr val="accent1"/>
          </a:lnRef>
          <a:fillRef idx="0">
            <a:schemeClr val="accent1"/>
          </a:fillRef>
          <a:effectRef idx="0">
            <a:schemeClr val="accent1"/>
          </a:effectRef>
          <a:fontRef idx="minor">
            <a:schemeClr val="tx1"/>
          </a:fontRef>
        </p:style>
      </p:cxnSp>
      <p:sp>
        <p:nvSpPr>
          <p:cNvPr id="29" name="Chart Placeholder 3">
            <a:extLst>
              <a:ext uri="{FF2B5EF4-FFF2-40B4-BE49-F238E27FC236}">
                <a16:creationId xmlns:a16="http://schemas.microsoft.com/office/drawing/2014/main" id="{C810BC7C-28E5-4317-B42E-9444F33F9920}"/>
              </a:ext>
            </a:extLst>
          </p:cNvPr>
          <p:cNvSpPr>
            <a:spLocks noGrp="1"/>
          </p:cNvSpPr>
          <p:nvPr>
            <p:ph type="chart" sz="quarter" idx="25" hasCustomPrompt="1"/>
          </p:nvPr>
        </p:nvSpPr>
        <p:spPr>
          <a:xfrm>
            <a:off x="8140801" y="2051999"/>
            <a:ext cx="3330474" cy="4069014"/>
          </a:xfrm>
          <a:prstGeom prst="rect">
            <a:avLst/>
          </a:prstGeom>
        </p:spPr>
        <p:txBody>
          <a:bodyPr>
            <a:noAutofit/>
          </a:bodyPr>
          <a:lstStyle>
            <a:lvl1pPr algn="r" rtl="1">
              <a:defRPr sz="1800" b="0"/>
            </a:lvl1pPr>
          </a:lstStyle>
          <a:p>
            <a:r>
              <a:rPr lang="ar-SA" noProof="0" dirty="0"/>
              <a:t>اضغط هنا لإضافة رسم بياني</a:t>
            </a:r>
          </a:p>
        </p:txBody>
      </p:sp>
      <p:sp>
        <p:nvSpPr>
          <p:cNvPr id="16" name="Text Placeholder 8">
            <a:extLst>
              <a:ext uri="{FF2B5EF4-FFF2-40B4-BE49-F238E27FC236}">
                <a16:creationId xmlns:a16="http://schemas.microsoft.com/office/drawing/2014/main" id="{D3FA825B-C32F-1440-A7BD-D2CB8EF9C9A9}"/>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23" name="Title Placeholder 1">
            <a:extLst>
              <a:ext uri="{FF2B5EF4-FFF2-40B4-BE49-F238E27FC236}">
                <a16:creationId xmlns:a16="http://schemas.microsoft.com/office/drawing/2014/main" id="{5584564D-ECFB-E14E-AB1C-7A928573EAB4}"/>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4" name="Picture 23">
            <a:extLst>
              <a:ext uri="{FF2B5EF4-FFF2-40B4-BE49-F238E27FC236}">
                <a16:creationId xmlns:a16="http://schemas.microsoft.com/office/drawing/2014/main" id="{9C91BE87-020F-1B43-849F-BF27E0688FA0}"/>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28" name="Picture 27" descr="A picture containing shape&#10;&#10;Description automatically generated">
            <a:extLst>
              <a:ext uri="{FF2B5EF4-FFF2-40B4-BE49-F238E27FC236}">
                <a16:creationId xmlns:a16="http://schemas.microsoft.com/office/drawing/2014/main" id="{48C5B8AF-8E18-8349-B593-C73DDEAD9A6E}"/>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196586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36983A-CA08-4E6E-A15F-3D3058D0E5C2}"/>
              </a:ext>
            </a:extLst>
          </p:cNvPr>
          <p:cNvGraphicFramePr>
            <a:graphicFrameLocks noChangeAspect="1"/>
          </p:cNvGraphicFramePr>
          <p:nvPr userDrawn="1">
            <p:custDataLst>
              <p:tags r:id="rId1"/>
            </p:custDataLst>
            <p:extLst>
              <p:ext uri="{D42A27DB-BD31-4B8C-83A1-F6EECF244321}">
                <p14:modId xmlns:p14="http://schemas.microsoft.com/office/powerpoint/2010/main" val="3832707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8D36983A-CA08-4E6E-A15F-3D3058D0E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CA11088C-2813-1642-B2E7-00D4B344B7D4}"/>
              </a:ext>
            </a:extLst>
          </p:cNvPr>
          <p:cNvSpPr/>
          <p:nvPr userDrawn="1"/>
        </p:nvSpPr>
        <p:spPr>
          <a:xfrm>
            <a:off x="848432" y="2654300"/>
            <a:ext cx="11379197" cy="236033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dirty="0">
              <a:latin typeface="Georgia Pro" panose="02040502050405020303" pitchFamily="18" charset="0"/>
              <a:sym typeface="Georgia Pro" panose="02040502050405020303" pitchFamily="18" charset="0"/>
            </a:endParaRPr>
          </a:p>
        </p:txBody>
      </p:sp>
      <p:sp>
        <p:nvSpPr>
          <p:cNvPr id="5" name="Title 4">
            <a:extLst>
              <a:ext uri="{FF2B5EF4-FFF2-40B4-BE49-F238E27FC236}">
                <a16:creationId xmlns:a16="http://schemas.microsoft.com/office/drawing/2014/main" id="{AB069963-0EA8-43DE-9FBB-513EA4374E79}"/>
              </a:ext>
            </a:extLst>
          </p:cNvPr>
          <p:cNvSpPr>
            <a:spLocks noGrp="1"/>
          </p:cNvSpPr>
          <p:nvPr>
            <p:ph type="title" hasCustomPrompt="1"/>
          </p:nvPr>
        </p:nvSpPr>
        <p:spPr>
          <a:xfrm>
            <a:off x="1629553" y="3049464"/>
            <a:ext cx="6015073" cy="759071"/>
          </a:xfrm>
          <a:prstGeom prst="rect">
            <a:avLst/>
          </a:prstGeom>
          <a:noFill/>
          <a:extLst>
            <a:ext uri="{909E8E84-426E-40DD-AFC4-6F175D3DCCD1}">
              <a14:hiddenFill xmlns:a14="http://schemas.microsoft.com/office/drawing/2010/main">
                <a:solidFill>
                  <a:schemeClr val="accent2"/>
                </a:solidFill>
              </a14:hiddenFill>
            </a:ext>
          </a:extLst>
        </p:spPr>
        <p:txBody>
          <a:bodyPr vert="horz" wrap="square" lIns="0" tIns="0" rIns="0" bIns="0" anchor="t" anchorCtr="0">
            <a:noAutofit/>
          </a:bodyPr>
          <a:lstStyle>
            <a:lvl1pPr marL="0" indent="0" algn="l">
              <a:lnSpc>
                <a:spcPct val="100000"/>
              </a:lnSpc>
              <a:spcBef>
                <a:spcPts val="0"/>
              </a:spcBef>
              <a:spcAft>
                <a:spcPts val="0"/>
              </a:spcAft>
              <a:defRPr sz="2400" b="1" i="0" u="none" kern="1200" spc="0">
                <a:solidFill>
                  <a:schemeClr val="bg1"/>
                </a:solidFill>
                <a:latin typeface="Georgia Pro" panose="02040502050405020303" pitchFamily="18" charset="0"/>
                <a:sym typeface="Georgia Pro" panose="02040502050405020303" pitchFamily="18" charset="0"/>
              </a:defRPr>
            </a:lvl1pPr>
          </a:lstStyle>
          <a:p>
            <a:pPr lvl="0"/>
            <a:r>
              <a:rPr lang="en-US"/>
              <a:t>Master title, Georgia 24 </a:t>
            </a:r>
            <a:r>
              <a:rPr lang="en-US" err="1"/>
              <a:t>pt</a:t>
            </a:r>
            <a:endParaRPr lang="en-US"/>
          </a:p>
        </p:txBody>
      </p:sp>
      <p:sp>
        <p:nvSpPr>
          <p:cNvPr id="10" name="Subtitle 2">
            <a:extLst>
              <a:ext uri="{FF2B5EF4-FFF2-40B4-BE49-F238E27FC236}">
                <a16:creationId xmlns:a16="http://schemas.microsoft.com/office/drawing/2014/main" id="{36DADFAE-FD48-D143-BB09-4C4C12921F3C}"/>
              </a:ext>
            </a:extLst>
          </p:cNvPr>
          <p:cNvSpPr>
            <a:spLocks noGrp="1"/>
          </p:cNvSpPr>
          <p:nvPr>
            <p:ph type="subTitle" idx="1" hasCustomPrompt="1"/>
          </p:nvPr>
        </p:nvSpPr>
        <p:spPr>
          <a:xfrm>
            <a:off x="1629554" y="4050157"/>
            <a:ext cx="5819492" cy="396495"/>
          </a:xfrm>
        </p:spPr>
        <p:txBody>
          <a:bodyPr wrap="square" lIns="0" tIns="0" rIns="0" bIns="0">
            <a:noAutofit/>
          </a:bodyPr>
          <a:lstStyle>
            <a:lvl1pPr marL="0" indent="0" algn="l" rtl="0">
              <a:buNone/>
              <a:defRPr sz="1800" b="0">
                <a:solidFill>
                  <a:schemeClr val="accent2"/>
                </a:solidFill>
                <a:latin typeface="Georgia Pro" panose="02040502050405020303" pitchFamily="18" charset="0"/>
                <a:sym typeface="Georgia Pro"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
              <a:t>Subtitle</a:t>
            </a:r>
            <a:r>
              <a:rPr lang="ar-SA"/>
              <a:t> ،</a:t>
            </a:r>
            <a:r>
              <a:rPr lang="en-US"/>
              <a:t>Georgia 18 </a:t>
            </a:r>
            <a:r>
              <a:rPr lang="en-US" err="1"/>
              <a:t>pt</a:t>
            </a:r>
            <a:endParaRPr lang="en-US"/>
          </a:p>
        </p:txBody>
      </p:sp>
      <p:sp>
        <p:nvSpPr>
          <p:cNvPr id="20" name="Date Placeholder 19">
            <a:extLst>
              <a:ext uri="{FF2B5EF4-FFF2-40B4-BE49-F238E27FC236}">
                <a16:creationId xmlns:a16="http://schemas.microsoft.com/office/drawing/2014/main" id="{DFA74A8A-BC2D-E449-BCE0-CB2C569DD955}"/>
              </a:ext>
            </a:extLst>
          </p:cNvPr>
          <p:cNvSpPr>
            <a:spLocks noGrp="1"/>
          </p:cNvSpPr>
          <p:nvPr>
            <p:ph type="dt" sz="half" idx="10"/>
          </p:nvPr>
        </p:nvSpPr>
        <p:spPr>
          <a:xfrm>
            <a:off x="8321391" y="6211667"/>
            <a:ext cx="2743200" cy="365125"/>
          </a:xfrm>
        </p:spPr>
        <p:txBody>
          <a:bodyPr/>
          <a:lstStyle>
            <a:lvl1pPr>
              <a:defRPr sz="1100">
                <a:latin typeface="Georgia Pro" panose="02040502050405020303" pitchFamily="18" charset="0"/>
                <a:sym typeface="Georgia Pro" panose="02040502050405020303" pitchFamily="18" charset="0"/>
              </a:defRPr>
            </a:lvl1pPr>
          </a:lstStyle>
          <a:p>
            <a:endParaRPr lang="en-US" dirty="0"/>
          </a:p>
        </p:txBody>
      </p:sp>
      <p:pic>
        <p:nvPicPr>
          <p:cNvPr id="2" name="Picture 1">
            <a:extLst>
              <a:ext uri="{FF2B5EF4-FFF2-40B4-BE49-F238E27FC236}">
                <a16:creationId xmlns:a16="http://schemas.microsoft.com/office/drawing/2014/main" id="{4BEDA2E5-92EE-3C49-800A-09C07D9DD529}"/>
              </a:ext>
            </a:extLst>
          </p:cNvPr>
          <p:cNvPicPr>
            <a:picLocks noChangeAspect="1"/>
          </p:cNvPicPr>
          <p:nvPr userDrawn="1"/>
        </p:nvPicPr>
        <p:blipFill>
          <a:blip r:embed="rId5"/>
          <a:stretch>
            <a:fillRect/>
          </a:stretch>
        </p:blipFill>
        <p:spPr>
          <a:xfrm>
            <a:off x="585790" y="475792"/>
            <a:ext cx="3179760" cy="1134000"/>
          </a:xfrm>
          <a:prstGeom prst="rect">
            <a:avLst/>
          </a:prstGeom>
        </p:spPr>
      </p:pic>
      <p:sp>
        <p:nvSpPr>
          <p:cNvPr id="3" name="مربع نص 2">
            <a:extLst>
              <a:ext uri="{FF2B5EF4-FFF2-40B4-BE49-F238E27FC236}">
                <a16:creationId xmlns:a16="http://schemas.microsoft.com/office/drawing/2014/main" id="{B3844120-D015-D242-8394-D86AB194F74F}"/>
              </a:ext>
            </a:extLst>
          </p:cNvPr>
          <p:cNvSpPr txBox="1"/>
          <p:nvPr userDrawn="1"/>
        </p:nvSpPr>
        <p:spPr>
          <a:xfrm>
            <a:off x="8776252" y="6211957"/>
            <a:ext cx="0" cy="0"/>
          </a:xfrm>
          <a:prstGeom prst="rect">
            <a:avLst/>
          </a:prstGeom>
        </p:spPr>
        <p:txBody>
          <a:bodyPr vert="horz" wrap="none" lIns="0" tIns="0" rIns="0" bIns="0" rtlCol="1" anchor="t">
            <a:noAutofit/>
          </a:bodyPr>
          <a:lstStyle/>
          <a:p>
            <a:pPr algn="l"/>
            <a:endParaRPr lang="ar-SA" sz="2800" dirty="0">
              <a:solidFill>
                <a:schemeClr val="accent1"/>
              </a:solidFill>
              <a:latin typeface="Georgia Pro" panose="02040502050405020303" pitchFamily="18" charset="0"/>
              <a:sym typeface="Georgia Pro" panose="02040502050405020303" pitchFamily="18" charset="0"/>
            </a:endParaRPr>
          </a:p>
        </p:txBody>
      </p:sp>
      <p:pic>
        <p:nvPicPr>
          <p:cNvPr id="15" name="Picture 14">
            <a:extLst>
              <a:ext uri="{FF2B5EF4-FFF2-40B4-BE49-F238E27FC236}">
                <a16:creationId xmlns:a16="http://schemas.microsoft.com/office/drawing/2014/main" id="{C4DC03FA-FBF4-4D17-9559-8F790E9C1889}"/>
              </a:ext>
            </a:extLst>
          </p:cNvPr>
          <p:cNvPicPr>
            <a:picLocks noChangeAspect="1"/>
          </p:cNvPicPr>
          <p:nvPr userDrawn="1"/>
        </p:nvPicPr>
        <p:blipFill>
          <a:blip r:embed="rId6"/>
          <a:stretch>
            <a:fillRect/>
          </a:stretch>
        </p:blipFill>
        <p:spPr>
          <a:xfrm>
            <a:off x="8048458" y="1289465"/>
            <a:ext cx="3840813" cy="4828450"/>
          </a:xfrm>
          <a:prstGeom prst="rect">
            <a:avLst/>
          </a:prstGeom>
        </p:spPr>
      </p:pic>
    </p:spTree>
    <p:extLst>
      <p:ext uri="{BB962C8B-B14F-4D97-AF65-F5344CB8AC3E}">
        <p14:creationId xmlns:p14="http://schemas.microsoft.com/office/powerpoint/2010/main" val="5131662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orient="horz" pos="346">
          <p15:clr>
            <a:srgbClr val="FBAE40"/>
          </p15:clr>
        </p15:guide>
        <p15:guide id="5" orient="horz" pos="397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7577882" y="1665288"/>
            <a:ext cx="3893392" cy="4416677"/>
          </a:xfrm>
          <a:prstGeom prst="rect">
            <a:avLst/>
          </a:prstGeom>
        </p:spPr>
        <p:txBody>
          <a:bodyPr>
            <a:normAutofit/>
          </a:bodyPr>
          <a:lstStyle>
            <a:lvl1pPr>
              <a:tabLst>
                <a:tab pos="5029200" algn="r"/>
              </a:tabLst>
              <a:defRPr sz="1800" b="0">
                <a:solidFill>
                  <a:schemeClr val="tx1"/>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r>
              <a:rPr lang="ar-SA" noProof="0" dirty="0"/>
              <a:t>اضغط هنا لإضافة ايقونة أو رسم بياني</a:t>
            </a:r>
          </a:p>
        </p:txBody>
      </p:sp>
      <p:sp>
        <p:nvSpPr>
          <p:cNvPr id="8" name="Content Placeholder 3"/>
          <p:cNvSpPr>
            <a:spLocks noGrp="1"/>
          </p:cNvSpPr>
          <p:nvPr>
            <p:ph sz="quarter" idx="16" hasCustomPrompt="1"/>
          </p:nvPr>
        </p:nvSpPr>
        <p:spPr>
          <a:xfrm>
            <a:off x="526359" y="1665288"/>
            <a:ext cx="6481639" cy="4444766"/>
          </a:xfrm>
          <a:prstGeom prst="rect">
            <a:avLst/>
          </a:prstGeom>
        </p:spPr>
        <p:txBody>
          <a:bodyPr>
            <a:normAutofit/>
          </a:bodyPr>
          <a:lstStyle>
            <a:lvl1pPr marL="0" indent="0" algn="r">
              <a:buFontTx/>
              <a:buNone/>
              <a:tabLst>
                <a:tab pos="5029200" algn="r"/>
              </a:tabLst>
              <a:defRPr sz="2000" b="0"/>
            </a:lvl1pPr>
            <a:lvl2pPr marL="139700" indent="-139700" algn="r">
              <a:buClrTx/>
              <a:buSzPct val="100000"/>
              <a:buFont typeface="Arial" panose="020B0604020202020204" pitchFamily="34" charset="0"/>
              <a:buChar char="•"/>
              <a:tabLst>
                <a:tab pos="5029200" algn="r"/>
              </a:tabLst>
              <a:defRPr sz="1800"/>
            </a:lvl2pPr>
            <a:lvl3pPr marL="304800" indent="-139700" algn="r">
              <a:buClrTx/>
              <a:buSzPct val="100000"/>
              <a:buFont typeface="Arial" panose="020B0604020202020204" pitchFamily="34" charset="0"/>
              <a:buChar char="−"/>
              <a:tabLst>
                <a:tab pos="5029200" algn="r"/>
              </a:tabLst>
              <a:defRPr sz="1400"/>
            </a:lvl3pPr>
            <a:lvl4pPr marL="469900" indent="-139700" algn="r">
              <a:buClrTx/>
              <a:buSzPct val="100000"/>
              <a:buFont typeface="Arial" panose="020B0604020202020204" pitchFamily="34" charset="0"/>
              <a:buChar char="◦"/>
              <a:tabLst>
                <a:tab pos="5029200" algn="r"/>
              </a:tabLst>
              <a:defRPr sz="1200"/>
            </a:lvl4pPr>
            <a:lvl5pPr marL="635000" indent="-139700" algn="r">
              <a:buClrTx/>
              <a:buSzPct val="100000"/>
              <a:buFont typeface="Arial" panose="020B0604020202020204" pitchFamily="34" charset="0"/>
              <a:buChar char="−"/>
              <a:tabLst>
                <a:tab pos="5029200" algn="r"/>
              </a:tabLst>
              <a:defRPr sz="1100" baseline="0"/>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9" name="Rectangle 18">
            <a:extLst>
              <a:ext uri="{FF2B5EF4-FFF2-40B4-BE49-F238E27FC236}">
                <a16:creationId xmlns:a16="http://schemas.microsoft.com/office/drawing/2014/main" id="{BDFD6194-E2A9-4754-B4D3-F2522ECE9043}"/>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akkal Majalla"/>
              <a:ea typeface="+mn-ea"/>
              <a:cs typeface="Sakkal Majalla"/>
            </a:endParaRPr>
          </a:p>
        </p:txBody>
      </p:sp>
      <p:cxnSp>
        <p:nvCxnSpPr>
          <p:cNvPr id="24" name="Straight Connector 23">
            <a:extLst>
              <a:ext uri="{FF2B5EF4-FFF2-40B4-BE49-F238E27FC236}">
                <a16:creationId xmlns:a16="http://schemas.microsoft.com/office/drawing/2014/main" id="{F3B0AE89-9533-408D-9652-233B11EECA49}"/>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689D74A9-8895-48A9-9E0A-CD739CB7A3AB}"/>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4" name="Text Placeholder 8">
            <a:extLst>
              <a:ext uri="{FF2B5EF4-FFF2-40B4-BE49-F238E27FC236}">
                <a16:creationId xmlns:a16="http://schemas.microsoft.com/office/drawing/2014/main" id="{24C2DEED-DADD-7B43-B40A-CA7490160CA3}"/>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BEA98399-CB89-7C4A-A3F8-141934BB8CB3}"/>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17" name="Picture 16">
            <a:extLst>
              <a:ext uri="{FF2B5EF4-FFF2-40B4-BE49-F238E27FC236}">
                <a16:creationId xmlns:a16="http://schemas.microsoft.com/office/drawing/2014/main" id="{A8017D77-4394-844B-A57E-AC372EE416E3}"/>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20" name="Picture 19" descr="A black and white logo&#10;&#10;Description automatically generated with low confidence">
            <a:extLst>
              <a:ext uri="{FF2B5EF4-FFF2-40B4-BE49-F238E27FC236}">
                <a16:creationId xmlns:a16="http://schemas.microsoft.com/office/drawing/2014/main" id="{A967FE00-6E41-A940-A1EA-FBBBA0CD9F70}"/>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28661388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7577882" y="1665288"/>
            <a:ext cx="3893392" cy="4416677"/>
          </a:xfrm>
          <a:prstGeom prst="rect">
            <a:avLst/>
          </a:prstGeom>
        </p:spPr>
        <p:txBody>
          <a:bodyPr>
            <a:normAutofit/>
          </a:bodyPr>
          <a:lstStyle>
            <a:lvl1pPr>
              <a:tabLst>
                <a:tab pos="5029200" algn="r"/>
              </a:tabLst>
              <a:defRPr sz="1800" b="0">
                <a:solidFill>
                  <a:schemeClr val="tx1"/>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r>
              <a:rPr lang="ar-SA" noProof="0" dirty="0"/>
              <a:t>اضغط هنا لإضافة ايقونة أو رسم بياني</a:t>
            </a:r>
          </a:p>
        </p:txBody>
      </p:sp>
      <p:sp>
        <p:nvSpPr>
          <p:cNvPr id="8" name="Content Placeholder 3"/>
          <p:cNvSpPr>
            <a:spLocks noGrp="1"/>
          </p:cNvSpPr>
          <p:nvPr>
            <p:ph sz="quarter" idx="16" hasCustomPrompt="1"/>
          </p:nvPr>
        </p:nvSpPr>
        <p:spPr>
          <a:xfrm>
            <a:off x="526359" y="1665288"/>
            <a:ext cx="6481639" cy="4444766"/>
          </a:xfrm>
          <a:prstGeom prst="rect">
            <a:avLst/>
          </a:prstGeom>
        </p:spPr>
        <p:txBody>
          <a:bodyPr>
            <a:normAutofit/>
          </a:bodyPr>
          <a:lstStyle>
            <a:lvl1pPr marL="0" indent="0" algn="r">
              <a:buFontTx/>
              <a:buNone/>
              <a:tabLst>
                <a:tab pos="5029200" algn="r"/>
              </a:tabLst>
              <a:defRPr sz="2000" b="0"/>
            </a:lvl1pPr>
            <a:lvl2pPr marL="139700" indent="-139700" algn="r">
              <a:buClrTx/>
              <a:buSzPct val="100000"/>
              <a:buFont typeface="Arial" panose="020B0604020202020204" pitchFamily="34" charset="0"/>
              <a:buChar char="•"/>
              <a:tabLst>
                <a:tab pos="5029200" algn="r"/>
              </a:tabLst>
              <a:defRPr sz="1800"/>
            </a:lvl2pPr>
            <a:lvl3pPr marL="304800" indent="-139700" algn="r">
              <a:buClrTx/>
              <a:buSzPct val="100000"/>
              <a:buFont typeface="Arial" panose="020B0604020202020204" pitchFamily="34" charset="0"/>
              <a:buChar char="−"/>
              <a:tabLst>
                <a:tab pos="5029200" algn="r"/>
              </a:tabLst>
              <a:defRPr sz="1400"/>
            </a:lvl3pPr>
            <a:lvl4pPr marL="469900" indent="-139700" algn="r">
              <a:buClrTx/>
              <a:buSzPct val="100000"/>
              <a:buFont typeface="Arial" panose="020B0604020202020204" pitchFamily="34" charset="0"/>
              <a:buChar char="◦"/>
              <a:tabLst>
                <a:tab pos="5029200" algn="r"/>
              </a:tabLst>
              <a:defRPr sz="1200"/>
            </a:lvl4pPr>
            <a:lvl5pPr marL="635000" indent="-139700" algn="r">
              <a:buClrTx/>
              <a:buSzPct val="100000"/>
              <a:buFont typeface="Arial" panose="020B0604020202020204" pitchFamily="34" charset="0"/>
              <a:buChar char="−"/>
              <a:tabLst>
                <a:tab pos="5029200" algn="r"/>
              </a:tabLst>
              <a:defRPr sz="1100" baseline="0"/>
            </a:lvl5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9" name="Rectangle 18">
            <a:extLst>
              <a:ext uri="{FF2B5EF4-FFF2-40B4-BE49-F238E27FC236}">
                <a16:creationId xmlns:a16="http://schemas.microsoft.com/office/drawing/2014/main" id="{BDFD6194-E2A9-4754-B4D3-F2522ECE9043}"/>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4" name="Straight Connector 23">
            <a:extLst>
              <a:ext uri="{FF2B5EF4-FFF2-40B4-BE49-F238E27FC236}">
                <a16:creationId xmlns:a16="http://schemas.microsoft.com/office/drawing/2014/main" id="{F3B0AE89-9533-408D-9652-233B11EECA49}"/>
              </a:ext>
            </a:extLst>
          </p:cNvPr>
          <p:cNvCxnSpPr/>
          <p:nvPr userDrawn="1"/>
        </p:nvCxnSpPr>
        <p:spPr>
          <a:xfrm>
            <a:off x="529872" y="6545987"/>
            <a:ext cx="0" cy="250219"/>
          </a:xfrm>
          <a:prstGeom prst="line">
            <a:avLst/>
          </a:prstGeom>
          <a:ln>
            <a:solidFill>
              <a:srgbClr val="12420D"/>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689D74A9-8895-48A9-9E0A-CD739CB7A3AB}"/>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4" name="Text Placeholder 8">
            <a:extLst>
              <a:ext uri="{FF2B5EF4-FFF2-40B4-BE49-F238E27FC236}">
                <a16:creationId xmlns:a16="http://schemas.microsoft.com/office/drawing/2014/main" id="{5D5DE6F5-3604-D148-8E91-5B74020C2A2F}"/>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F39DD3CD-121F-1A4E-9C36-C7FDD2B642C4}"/>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16" name="Picture 15">
            <a:extLst>
              <a:ext uri="{FF2B5EF4-FFF2-40B4-BE49-F238E27FC236}">
                <a16:creationId xmlns:a16="http://schemas.microsoft.com/office/drawing/2014/main" id="{5A31142F-8E9E-8E4B-B948-4371E7E21F70}"/>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18" name="Picture 17" descr="A picture containing shape&#10;&#10;Description automatically generated">
            <a:extLst>
              <a:ext uri="{FF2B5EF4-FFF2-40B4-BE49-F238E27FC236}">
                <a16:creationId xmlns:a16="http://schemas.microsoft.com/office/drawing/2014/main" id="{2A2629E5-1901-BD4B-9E16-4996D2872D62}"/>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531652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hasCustomPrompt="1"/>
          </p:nvPr>
        </p:nvSpPr>
        <p:spPr>
          <a:xfrm>
            <a:off x="526360" y="1674086"/>
            <a:ext cx="2468215"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5" name="Picture Placeholder 6"/>
          <p:cNvSpPr>
            <a:spLocks noGrp="1"/>
          </p:cNvSpPr>
          <p:nvPr>
            <p:ph type="pic" sz="quarter" idx="14" hasCustomPrompt="1"/>
          </p:nvPr>
        </p:nvSpPr>
        <p:spPr>
          <a:xfrm>
            <a:off x="3108143" y="1674086"/>
            <a:ext cx="2712000"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6" name="Picture Placeholder 6"/>
          <p:cNvSpPr>
            <a:spLocks noGrp="1"/>
          </p:cNvSpPr>
          <p:nvPr>
            <p:ph type="pic" sz="quarter" idx="15" hasCustomPrompt="1"/>
          </p:nvPr>
        </p:nvSpPr>
        <p:spPr>
          <a:xfrm>
            <a:off x="5933711" y="1674086"/>
            <a:ext cx="2712000"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7" name="Picture Placeholder 6"/>
          <p:cNvSpPr>
            <a:spLocks noGrp="1"/>
          </p:cNvSpPr>
          <p:nvPr>
            <p:ph type="pic" sz="quarter" idx="16" hasCustomPrompt="1"/>
          </p:nvPr>
        </p:nvSpPr>
        <p:spPr>
          <a:xfrm>
            <a:off x="8759278" y="1674086"/>
            <a:ext cx="2712000" cy="1260000"/>
          </a:xfrm>
          <a:prstGeom prst="rect">
            <a:avLst/>
          </a:prstGeom>
        </p:spPr>
        <p:txBody>
          <a:bodyPr lIns="0" tIns="0" rIns="0" bIns="0">
            <a:noAutofit/>
          </a:bodyPr>
          <a:lstStyle>
            <a:lvl1pPr algn="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9" name="Text Placeholder 8"/>
          <p:cNvSpPr>
            <a:spLocks noGrp="1"/>
          </p:cNvSpPr>
          <p:nvPr>
            <p:ph type="body" sz="quarter" idx="17" hasCustomPrompt="1"/>
          </p:nvPr>
        </p:nvSpPr>
        <p:spPr>
          <a:xfrm>
            <a:off x="526359" y="3108508"/>
            <a:ext cx="2476685" cy="3257548"/>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0" name="Text Placeholder 8"/>
          <p:cNvSpPr>
            <a:spLocks noGrp="1"/>
          </p:cNvSpPr>
          <p:nvPr>
            <p:ph type="body" sz="quarter" idx="18" hasCustomPrompt="1"/>
          </p:nvPr>
        </p:nvSpPr>
        <p:spPr>
          <a:xfrm>
            <a:off x="5946412" y="3108508"/>
            <a:ext cx="2712000" cy="3261199"/>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1" name="Text Placeholder 8"/>
          <p:cNvSpPr>
            <a:spLocks noGrp="1"/>
          </p:cNvSpPr>
          <p:nvPr>
            <p:ph type="body" sz="quarter" idx="19" hasCustomPrompt="1"/>
          </p:nvPr>
        </p:nvSpPr>
        <p:spPr>
          <a:xfrm>
            <a:off x="3118728" y="3108508"/>
            <a:ext cx="2712000" cy="3257549"/>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2" name="Text Placeholder 8"/>
          <p:cNvSpPr>
            <a:spLocks noGrp="1"/>
          </p:cNvSpPr>
          <p:nvPr>
            <p:ph type="body" sz="quarter" idx="20" hasCustomPrompt="1"/>
          </p:nvPr>
        </p:nvSpPr>
        <p:spPr>
          <a:xfrm>
            <a:off x="8774096" y="3108508"/>
            <a:ext cx="2697183" cy="3257547"/>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25" name="Rectangle 24">
            <a:extLst>
              <a:ext uri="{FF2B5EF4-FFF2-40B4-BE49-F238E27FC236}">
                <a16:creationId xmlns:a16="http://schemas.microsoft.com/office/drawing/2014/main" id="{F0738C96-0BB6-4378-974B-D6A9F369547C}"/>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30" name="Straight Connector 29">
            <a:extLst>
              <a:ext uri="{FF2B5EF4-FFF2-40B4-BE49-F238E27FC236}">
                <a16:creationId xmlns:a16="http://schemas.microsoft.com/office/drawing/2014/main" id="{852282D0-CA0D-4E48-B103-5D6A7DC7E43A}"/>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Text Placeholder 8">
            <a:extLst>
              <a:ext uri="{FF2B5EF4-FFF2-40B4-BE49-F238E27FC236}">
                <a16:creationId xmlns:a16="http://schemas.microsoft.com/office/drawing/2014/main" id="{CC3DBF0D-A6C0-9445-B42B-AF5DECA8D1A0}"/>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20" name="Title Placeholder 1">
            <a:extLst>
              <a:ext uri="{FF2B5EF4-FFF2-40B4-BE49-F238E27FC236}">
                <a16:creationId xmlns:a16="http://schemas.microsoft.com/office/drawing/2014/main" id="{78F688F1-D9C7-344A-986D-BB904AE20CB8}"/>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2" name="Picture 21">
            <a:extLst>
              <a:ext uri="{FF2B5EF4-FFF2-40B4-BE49-F238E27FC236}">
                <a16:creationId xmlns:a16="http://schemas.microsoft.com/office/drawing/2014/main" id="{550BB143-C7BE-2043-BD1A-A3231CF017AB}"/>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24" name="Picture 23" descr="A black and white logo&#10;&#10;Description automatically generated with low confidence">
            <a:extLst>
              <a:ext uri="{FF2B5EF4-FFF2-40B4-BE49-F238E27FC236}">
                <a16:creationId xmlns:a16="http://schemas.microsoft.com/office/drawing/2014/main" id="{593AA1BF-D717-AD41-9DE4-2FEFF1C264D7}"/>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22729708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eam profile">
    <p:spTree>
      <p:nvGrpSpPr>
        <p:cNvPr id="1" name=""/>
        <p:cNvGrpSpPr/>
        <p:nvPr/>
      </p:nvGrpSpPr>
      <p:grpSpPr>
        <a:xfrm>
          <a:off x="0" y="0"/>
          <a:ext cx="0" cy="0"/>
          <a:chOff x="0" y="0"/>
          <a:chExt cx="0" cy="0"/>
        </a:xfrm>
      </p:grpSpPr>
      <p:sp>
        <p:nvSpPr>
          <p:cNvPr id="4" name="Picture Placeholder 6"/>
          <p:cNvSpPr>
            <a:spLocks noGrp="1"/>
          </p:cNvSpPr>
          <p:nvPr>
            <p:ph type="pic" sz="quarter" idx="13" hasCustomPrompt="1"/>
          </p:nvPr>
        </p:nvSpPr>
        <p:spPr>
          <a:xfrm>
            <a:off x="526360" y="1674086"/>
            <a:ext cx="2468215"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5" name="Picture Placeholder 6"/>
          <p:cNvSpPr>
            <a:spLocks noGrp="1"/>
          </p:cNvSpPr>
          <p:nvPr>
            <p:ph type="pic" sz="quarter" idx="14" hasCustomPrompt="1"/>
          </p:nvPr>
        </p:nvSpPr>
        <p:spPr>
          <a:xfrm>
            <a:off x="3108143" y="1674086"/>
            <a:ext cx="2712000"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6" name="Picture Placeholder 6"/>
          <p:cNvSpPr>
            <a:spLocks noGrp="1"/>
          </p:cNvSpPr>
          <p:nvPr>
            <p:ph type="pic" sz="quarter" idx="15" hasCustomPrompt="1"/>
          </p:nvPr>
        </p:nvSpPr>
        <p:spPr>
          <a:xfrm>
            <a:off x="5933711" y="1674086"/>
            <a:ext cx="2712000"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7" name="Picture Placeholder 6"/>
          <p:cNvSpPr>
            <a:spLocks noGrp="1"/>
          </p:cNvSpPr>
          <p:nvPr>
            <p:ph type="pic" sz="quarter" idx="16" hasCustomPrompt="1"/>
          </p:nvPr>
        </p:nvSpPr>
        <p:spPr>
          <a:xfrm>
            <a:off x="8759278" y="1674086"/>
            <a:ext cx="2712000" cy="1260000"/>
          </a:xfrm>
          <a:prstGeom prst="rect">
            <a:avLst/>
          </a:prstGeom>
        </p:spPr>
        <p:txBody>
          <a:bodyPr lIns="0" tIns="0" rIns="0" bIns="0">
            <a:noAutofit/>
          </a:bodyPr>
          <a:lstStyle>
            <a:lvl1pPr algn="ct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9" name="Text Placeholder 8"/>
          <p:cNvSpPr>
            <a:spLocks noGrp="1"/>
          </p:cNvSpPr>
          <p:nvPr>
            <p:ph type="body" sz="quarter" idx="17" hasCustomPrompt="1"/>
          </p:nvPr>
        </p:nvSpPr>
        <p:spPr>
          <a:xfrm>
            <a:off x="526359" y="3108508"/>
            <a:ext cx="2476685" cy="3257548"/>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0" name="Text Placeholder 8"/>
          <p:cNvSpPr>
            <a:spLocks noGrp="1"/>
          </p:cNvSpPr>
          <p:nvPr>
            <p:ph type="body" sz="quarter" idx="18" hasCustomPrompt="1"/>
          </p:nvPr>
        </p:nvSpPr>
        <p:spPr>
          <a:xfrm>
            <a:off x="5946412" y="3108508"/>
            <a:ext cx="2712000" cy="3261199"/>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1" name="Text Placeholder 8"/>
          <p:cNvSpPr>
            <a:spLocks noGrp="1"/>
          </p:cNvSpPr>
          <p:nvPr>
            <p:ph type="body" sz="quarter" idx="19" hasCustomPrompt="1"/>
          </p:nvPr>
        </p:nvSpPr>
        <p:spPr>
          <a:xfrm>
            <a:off x="3118728" y="3108508"/>
            <a:ext cx="2712000" cy="3257549"/>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2" name="Text Placeholder 8"/>
          <p:cNvSpPr>
            <a:spLocks noGrp="1"/>
          </p:cNvSpPr>
          <p:nvPr>
            <p:ph type="body" sz="quarter" idx="20" hasCustomPrompt="1"/>
          </p:nvPr>
        </p:nvSpPr>
        <p:spPr>
          <a:xfrm>
            <a:off x="8774096" y="3108508"/>
            <a:ext cx="2697183" cy="3257547"/>
          </a:xfrm>
          <a:prstGeom prst="rect">
            <a:avLst/>
          </a:prstGeom>
        </p:spPr>
        <p:txBody>
          <a:bodyPr>
            <a:normAutofit/>
          </a:bodyPr>
          <a:lstStyle>
            <a:lvl1pPr marL="0" indent="0" algn="r" rtl="1">
              <a:buFontTx/>
              <a:buNone/>
              <a:defRPr sz="2000" b="0">
                <a:solidFill>
                  <a:schemeClr val="tx1"/>
                </a:solidFill>
              </a:defRPr>
            </a:lvl1pPr>
            <a:lvl2pPr marL="139700" indent="-139700" algn="r" rtl="1">
              <a:spcAft>
                <a:spcPts val="0"/>
              </a:spcAft>
              <a:buClrTx/>
              <a:buSzPct val="100000"/>
              <a:buFont typeface="Arial" panose="020B0604020202020204" pitchFamily="34" charset="0"/>
              <a:buChar char="•"/>
              <a:defRPr sz="1800">
                <a:solidFill>
                  <a:schemeClr val="tx1"/>
                </a:solidFill>
              </a:defRPr>
            </a:lvl2pPr>
            <a:lvl3pPr marL="304800" indent="-139700" algn="r" rtl="1">
              <a:spcAft>
                <a:spcPts val="0"/>
              </a:spcAft>
              <a:buClrTx/>
              <a:buSzPct val="100000"/>
              <a:buFont typeface="Arial" panose="020B0604020202020204" pitchFamily="34" charset="0"/>
              <a:buChar char="−"/>
              <a:defRPr sz="1400">
                <a:solidFill>
                  <a:schemeClr val="tx1"/>
                </a:solidFill>
              </a:defRPr>
            </a:lvl3pPr>
            <a:lvl4pPr marL="469900" indent="-139700" algn="r" rtl="1">
              <a:spcAft>
                <a:spcPts val="0"/>
              </a:spcAft>
              <a:buClrTx/>
              <a:buSzPct val="100000"/>
              <a:buFont typeface="Arial" panose="020B0604020202020204" pitchFamily="34" charset="0"/>
              <a:buChar char="◦"/>
              <a:defRPr sz="1200">
                <a:solidFill>
                  <a:schemeClr val="tx1"/>
                </a:solidFill>
              </a:defRPr>
            </a:lvl4pPr>
            <a:lvl5pPr marL="635000" indent="-139700" algn="r" rtl="1">
              <a:spcAft>
                <a:spcPts val="0"/>
              </a:spcAft>
              <a:buClrTx/>
              <a:buSzPct val="100000"/>
              <a:buFont typeface="Arial" panose="020B0604020202020204" pitchFamily="34" charset="0"/>
              <a:buChar char="−"/>
              <a:defRPr sz="110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13"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25" name="Rectangle 24">
            <a:extLst>
              <a:ext uri="{FF2B5EF4-FFF2-40B4-BE49-F238E27FC236}">
                <a16:creationId xmlns:a16="http://schemas.microsoft.com/office/drawing/2014/main" id="{F0738C96-0BB6-4378-974B-D6A9F369547C}"/>
              </a:ext>
            </a:extLst>
          </p:cNvPr>
          <p:cNvSpPr/>
          <p:nvPr userDrawn="1"/>
        </p:nvSpPr>
        <p:spPr>
          <a:xfrm>
            <a:off x="0" y="-1"/>
            <a:ext cx="12193200" cy="1456267"/>
          </a:xfrm>
          <a:prstGeom prst="rect">
            <a:avLst/>
          </a:prstGeom>
          <a:solidFill>
            <a:srgbClr val="14430F"/>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30" name="Straight Connector 29">
            <a:extLst>
              <a:ext uri="{FF2B5EF4-FFF2-40B4-BE49-F238E27FC236}">
                <a16:creationId xmlns:a16="http://schemas.microsoft.com/office/drawing/2014/main" id="{852282D0-CA0D-4E48-B103-5D6A7DC7E43A}"/>
              </a:ext>
            </a:extLst>
          </p:cNvPr>
          <p:cNvCxnSpPr/>
          <p:nvPr userDrawn="1"/>
        </p:nvCxnSpPr>
        <p:spPr>
          <a:xfrm>
            <a:off x="529872" y="6545987"/>
            <a:ext cx="0" cy="250219"/>
          </a:xfrm>
          <a:prstGeom prst="line">
            <a:avLst/>
          </a:prstGeom>
          <a:ln>
            <a:solidFill>
              <a:srgbClr val="14430F"/>
            </a:solidFill>
          </a:ln>
        </p:spPr>
        <p:style>
          <a:lnRef idx="1">
            <a:schemeClr val="accent1"/>
          </a:lnRef>
          <a:fillRef idx="0">
            <a:schemeClr val="accent1"/>
          </a:fillRef>
          <a:effectRef idx="0">
            <a:schemeClr val="accent1"/>
          </a:effectRef>
          <a:fontRef idx="minor">
            <a:schemeClr val="tx1"/>
          </a:fontRef>
        </p:style>
      </p:cxnSp>
      <p:sp>
        <p:nvSpPr>
          <p:cNvPr id="19" name="Text Placeholder 8">
            <a:extLst>
              <a:ext uri="{FF2B5EF4-FFF2-40B4-BE49-F238E27FC236}">
                <a16:creationId xmlns:a16="http://schemas.microsoft.com/office/drawing/2014/main" id="{3981844A-540A-B947-943C-43A0E8571917}"/>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20" name="Title Placeholder 1">
            <a:extLst>
              <a:ext uri="{FF2B5EF4-FFF2-40B4-BE49-F238E27FC236}">
                <a16:creationId xmlns:a16="http://schemas.microsoft.com/office/drawing/2014/main" id="{7AEC7482-CE04-9E49-B8B0-A7D546E00738}"/>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21" name="Picture 20">
            <a:extLst>
              <a:ext uri="{FF2B5EF4-FFF2-40B4-BE49-F238E27FC236}">
                <a16:creationId xmlns:a16="http://schemas.microsoft.com/office/drawing/2014/main" id="{3927D918-E98C-3C49-B402-3FCA2848CEDA}"/>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23" name="Picture 22" descr="A picture containing shape&#10;&#10;Description automatically generated">
            <a:extLst>
              <a:ext uri="{FF2B5EF4-FFF2-40B4-BE49-F238E27FC236}">
                <a16:creationId xmlns:a16="http://schemas.microsoft.com/office/drawing/2014/main" id="{BBD78D08-CFF0-FB46-80FF-8F8E6FFAC175}"/>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6350053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534824" y="1665290"/>
            <a:ext cx="9244176" cy="4463202"/>
          </a:xfrm>
          <a:prstGeom prst="rect">
            <a:avLst/>
          </a:prstGeom>
        </p:spPr>
        <p:txBody>
          <a:bodyPr>
            <a:noAutofit/>
          </a:bodyPr>
          <a:lstStyle>
            <a:lvl1pPr marL="0" indent="0" algn="r" rtl="1">
              <a:buFontTx/>
              <a:buNone/>
              <a:tabLst>
                <a:tab pos="6729413" algn="r"/>
              </a:tabLst>
              <a:defRPr sz="2000" b="0">
                <a:solidFill>
                  <a:schemeClr val="tx1"/>
                </a:solidFill>
                <a:latin typeface="+mn-lt"/>
              </a:defRPr>
            </a:lvl1pPr>
            <a:lvl2pPr marL="139700" indent="-139700" algn="r" rtl="1">
              <a:buClrTx/>
              <a:buSzPct val="100000"/>
              <a:buFont typeface="Arial" panose="020B0604020202020204" pitchFamily="34" charset="0"/>
              <a:buChar char="•"/>
              <a:tabLst>
                <a:tab pos="6729413" algn="r"/>
              </a:tabLst>
              <a:defRPr sz="1800">
                <a:solidFill>
                  <a:schemeClr val="tx1"/>
                </a:solidFill>
                <a:latin typeface="+mj-lt"/>
              </a:defRPr>
            </a:lvl2pPr>
            <a:lvl3pPr marL="304800" indent="-139700" algn="r" rtl="1">
              <a:buClrTx/>
              <a:buSzPct val="100000"/>
              <a:buFont typeface="Arial" panose="020B0604020202020204" pitchFamily="34" charset="0"/>
              <a:buChar char="−"/>
              <a:tabLst>
                <a:tab pos="6729413" algn="r"/>
              </a:tabLst>
              <a:defRPr sz="1400">
                <a:solidFill>
                  <a:schemeClr val="tx1"/>
                </a:solidFill>
                <a:latin typeface="+mn-lt"/>
              </a:defRPr>
            </a:lvl3pPr>
            <a:lvl4pPr marL="469900" indent="-139700" algn="r" rtl="1">
              <a:buClrTx/>
              <a:buSzPct val="100000"/>
              <a:buFont typeface="Arial" panose="020B0604020202020204" pitchFamily="34" charset="0"/>
              <a:buChar char="◦"/>
              <a:tabLst>
                <a:tab pos="6729413" algn="r"/>
              </a:tabLst>
              <a:defRPr sz="1200">
                <a:solidFill>
                  <a:schemeClr val="tx1"/>
                </a:solidFill>
                <a:latin typeface="+mn-lt"/>
              </a:defRPr>
            </a:lvl4pPr>
            <a:lvl5pPr marL="635000" indent="-139700" algn="r" rtl="1">
              <a:buClrTx/>
              <a:buSzPct val="100000"/>
              <a:buFont typeface="Arial" panose="020B0604020202020204" pitchFamily="34" charset="0"/>
              <a:buChar char="−"/>
              <a:tabLst>
                <a:tab pos="5029200" algn="r"/>
              </a:tabLst>
              <a:defRPr sz="1100" baseline="0">
                <a:solidFill>
                  <a:schemeClr val="tx1"/>
                </a:solidFill>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8" name="Picture Placeholder 7">
            <a:extLst>
              <a:ext uri="{FF2B5EF4-FFF2-40B4-BE49-F238E27FC236}">
                <a16:creationId xmlns:a16="http://schemas.microsoft.com/office/drawing/2014/main" id="{63DCC994-E055-4B75-864C-F655FB92E638}"/>
              </a:ext>
            </a:extLst>
          </p:cNvPr>
          <p:cNvSpPr>
            <a:spLocks noGrp="1"/>
          </p:cNvSpPr>
          <p:nvPr>
            <p:ph type="pic" sz="quarter" idx="11" hasCustomPrompt="1"/>
          </p:nvPr>
        </p:nvSpPr>
        <p:spPr>
          <a:xfrm>
            <a:off x="9979025" y="1665288"/>
            <a:ext cx="1492249" cy="4463201"/>
          </a:xfrm>
          <a:prstGeom prst="rect">
            <a:avLst/>
          </a:prstGeom>
        </p:spPr>
        <p:txBody>
          <a:bodyPr>
            <a:normAutofit/>
          </a:bodyPr>
          <a:lstStyle>
            <a:lvl1pPr algn="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Rectangle 16">
            <a:extLst>
              <a:ext uri="{FF2B5EF4-FFF2-40B4-BE49-F238E27FC236}">
                <a16:creationId xmlns:a16="http://schemas.microsoft.com/office/drawing/2014/main" id="{6C61F1D1-DB9F-444F-85DA-1DDD9D25E4D9}"/>
              </a:ext>
            </a:extLst>
          </p:cNvPr>
          <p:cNvSpPr/>
          <p:nvPr userDrawn="1"/>
        </p:nvSpPr>
        <p:spPr>
          <a:xfrm>
            <a:off x="0" y="-1"/>
            <a:ext cx="12193200" cy="1456267"/>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3836720B-0717-46CD-9A86-A131D72AF06D}"/>
              </a:ext>
            </a:extLst>
          </p:cNvPr>
          <p:cNvCxnSpPr/>
          <p:nvPr userDrawn="1"/>
        </p:nvCxnSpPr>
        <p:spPr>
          <a:xfrm>
            <a:off x="529872" y="6545987"/>
            <a:ext cx="0" cy="2502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C44C911A-A8F4-433C-B65E-744E0EB6443E}"/>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4" name="Text Placeholder 8">
            <a:extLst>
              <a:ext uri="{FF2B5EF4-FFF2-40B4-BE49-F238E27FC236}">
                <a16:creationId xmlns:a16="http://schemas.microsoft.com/office/drawing/2014/main" id="{FBF7C1B2-C5EE-4E44-9BB7-8992609F8A6D}"/>
              </a:ext>
            </a:extLst>
          </p:cNvPr>
          <p:cNvSpPr>
            <a:spLocks noGrp="1"/>
          </p:cNvSpPr>
          <p:nvPr>
            <p:ph type="body" sz="quarter" idx="24" hasCustomPrompt="1"/>
          </p:nvPr>
        </p:nvSpPr>
        <p:spPr>
          <a:xfrm>
            <a:off x="526358" y="621101"/>
            <a:ext cx="10944915" cy="757255"/>
          </a:xfrm>
          <a:prstGeom prst="rect">
            <a:avLst/>
          </a:prstGeom>
        </p:spPr>
        <p:txBody>
          <a:bodyPr lIns="0" tIns="0" rIns="0" bIns="0">
            <a:noAutofit/>
          </a:bodyPr>
          <a:lstStyle>
            <a:lvl1pPr marL="0" indent="0" algn="r" rtl="1">
              <a:buNone/>
              <a:defRPr sz="2400" b="0">
                <a:solidFill>
                  <a:srgbClr val="14430F"/>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EDBDD6A8-5EC2-FF4A-8EEA-F821CB9056AD}"/>
              </a:ext>
            </a:extLst>
          </p:cNvPr>
          <p:cNvSpPr>
            <a:spLocks noGrp="1"/>
          </p:cNvSpPr>
          <p:nvPr>
            <p:ph type="title" hasCustomPrompt="1"/>
          </p:nvPr>
        </p:nvSpPr>
        <p:spPr>
          <a:xfrm>
            <a:off x="526358" y="228609"/>
            <a:ext cx="10944915"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18" name="Picture 17">
            <a:extLst>
              <a:ext uri="{FF2B5EF4-FFF2-40B4-BE49-F238E27FC236}">
                <a16:creationId xmlns:a16="http://schemas.microsoft.com/office/drawing/2014/main" id="{1FBD14E9-9AA0-B44E-8A82-2F64241638A8}"/>
              </a:ext>
            </a:extLst>
          </p:cNvPr>
          <p:cNvPicPr>
            <a:picLocks noChangeAspect="1"/>
          </p:cNvPicPr>
          <p:nvPr userDrawn="1"/>
        </p:nvPicPr>
        <p:blipFill>
          <a:blip r:embed="rId2"/>
          <a:stretch>
            <a:fillRect/>
          </a:stretch>
        </p:blipFill>
        <p:spPr>
          <a:xfrm>
            <a:off x="603914" y="6544220"/>
            <a:ext cx="250219" cy="250219"/>
          </a:xfrm>
          <a:prstGeom prst="rect">
            <a:avLst/>
          </a:prstGeom>
        </p:spPr>
      </p:pic>
      <p:pic>
        <p:nvPicPr>
          <p:cNvPr id="23" name="Picture 22" descr="A black and white logo&#10;&#10;Description automatically generated with low confidence">
            <a:extLst>
              <a:ext uri="{FF2B5EF4-FFF2-40B4-BE49-F238E27FC236}">
                <a16:creationId xmlns:a16="http://schemas.microsoft.com/office/drawing/2014/main" id="{4A2D9FD6-791F-3A49-8FF4-FF4AD9CF53D7}"/>
              </a:ext>
            </a:extLst>
          </p:cNvPr>
          <p:cNvPicPr>
            <a:picLocks noChangeAspect="1"/>
          </p:cNvPicPr>
          <p:nvPr userDrawn="1"/>
        </p:nvPicPr>
        <p:blipFill rotWithShape="1">
          <a:blip r:embed="rId3"/>
          <a:srcRect l="52068"/>
          <a:stretch/>
        </p:blipFill>
        <p:spPr>
          <a:xfrm flipH="1">
            <a:off x="11657006" y="23734"/>
            <a:ext cx="534994" cy="1202514"/>
          </a:xfrm>
          <a:prstGeom prst="rect">
            <a:avLst/>
          </a:prstGeom>
        </p:spPr>
      </p:pic>
    </p:spTree>
    <p:extLst>
      <p:ext uri="{BB962C8B-B14F-4D97-AF65-F5344CB8AC3E}">
        <p14:creationId xmlns:p14="http://schemas.microsoft.com/office/powerpoint/2010/main" val="11242001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534824" y="1665290"/>
            <a:ext cx="9244176" cy="4463202"/>
          </a:xfrm>
          <a:prstGeom prst="rect">
            <a:avLst/>
          </a:prstGeom>
        </p:spPr>
        <p:txBody>
          <a:bodyPr>
            <a:noAutofit/>
          </a:bodyPr>
          <a:lstStyle>
            <a:lvl1pPr marL="0" indent="0" algn="r" rtl="1">
              <a:buFontTx/>
              <a:buNone/>
              <a:tabLst>
                <a:tab pos="6729413" algn="r"/>
              </a:tabLst>
              <a:defRPr sz="2000" b="0">
                <a:solidFill>
                  <a:schemeClr val="tx1"/>
                </a:solidFill>
                <a:latin typeface="+mn-lt"/>
              </a:defRPr>
            </a:lvl1pPr>
            <a:lvl2pPr marL="139700" indent="-139700" algn="r" rtl="1">
              <a:buClrTx/>
              <a:buSzPct val="100000"/>
              <a:buFont typeface="Arial" panose="020B0604020202020204" pitchFamily="34" charset="0"/>
              <a:buChar char="•"/>
              <a:tabLst>
                <a:tab pos="6729413" algn="r"/>
              </a:tabLst>
              <a:defRPr sz="1800">
                <a:solidFill>
                  <a:schemeClr val="tx1"/>
                </a:solidFill>
                <a:latin typeface="+mj-lt"/>
              </a:defRPr>
            </a:lvl2pPr>
            <a:lvl3pPr marL="304800" indent="-139700" algn="r" rtl="1">
              <a:buClrTx/>
              <a:buSzPct val="100000"/>
              <a:buFont typeface="Arial" panose="020B0604020202020204" pitchFamily="34" charset="0"/>
              <a:buChar char="−"/>
              <a:tabLst>
                <a:tab pos="6729413" algn="r"/>
              </a:tabLst>
              <a:defRPr sz="1400">
                <a:solidFill>
                  <a:schemeClr val="tx1"/>
                </a:solidFill>
                <a:latin typeface="+mn-lt"/>
              </a:defRPr>
            </a:lvl3pPr>
            <a:lvl4pPr marL="469900" indent="-139700" algn="r" rtl="1">
              <a:buClrTx/>
              <a:buSzPct val="100000"/>
              <a:buFont typeface="Arial" panose="020B0604020202020204" pitchFamily="34" charset="0"/>
              <a:buChar char="◦"/>
              <a:tabLst>
                <a:tab pos="6729413" algn="r"/>
              </a:tabLst>
              <a:defRPr sz="1200">
                <a:solidFill>
                  <a:schemeClr val="tx1"/>
                </a:solidFill>
                <a:latin typeface="+mn-lt"/>
              </a:defRPr>
            </a:lvl4pPr>
            <a:lvl5pPr marL="635000" indent="-139700" algn="r" rtl="1">
              <a:buClrTx/>
              <a:buSzPct val="100000"/>
              <a:buFont typeface="Arial" panose="020B0604020202020204" pitchFamily="34" charset="0"/>
              <a:buChar char="−"/>
              <a:tabLst>
                <a:tab pos="5029200" algn="r"/>
              </a:tabLst>
              <a:defRPr sz="1100" baseline="0">
                <a:solidFill>
                  <a:schemeClr val="tx1"/>
                </a:solidFill>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ar-SA" noProof="0" dirty="0"/>
              <a:t>اضغط هنا لتعديل النص</a:t>
            </a:r>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8" name="Picture Placeholder 7">
            <a:extLst>
              <a:ext uri="{FF2B5EF4-FFF2-40B4-BE49-F238E27FC236}">
                <a16:creationId xmlns:a16="http://schemas.microsoft.com/office/drawing/2014/main" id="{63DCC994-E055-4B75-864C-F655FB92E638}"/>
              </a:ext>
            </a:extLst>
          </p:cNvPr>
          <p:cNvSpPr>
            <a:spLocks noGrp="1"/>
          </p:cNvSpPr>
          <p:nvPr>
            <p:ph type="pic" sz="quarter" idx="11" hasCustomPrompt="1"/>
          </p:nvPr>
        </p:nvSpPr>
        <p:spPr>
          <a:xfrm>
            <a:off x="9979025" y="1665288"/>
            <a:ext cx="1492249" cy="4463201"/>
          </a:xfrm>
          <a:prstGeom prst="rect">
            <a:avLst/>
          </a:prstGeom>
        </p:spPr>
        <p:txBody>
          <a:bodyPr>
            <a:normAutofit/>
          </a:bodyPr>
          <a:lstStyle>
            <a:lvl1pPr algn="r" rtl="1">
              <a:defRPr sz="1600" b="0"/>
            </a:lvl1pPr>
          </a:lstStyle>
          <a:p>
            <a:pPr marL="0" indent="0" algn="l" defTabSz="914400" rtl="0" eaLnBrk="1" latinLnBrk="0" hangingPunct="1">
              <a:lnSpc>
                <a:spcPct val="90000"/>
              </a:lnSpc>
              <a:spcBef>
                <a:spcPts val="1000"/>
              </a:spcBef>
              <a:buFont typeface="Arial" panose="020B0604020202020204" pitchFamily="34" charset="0"/>
              <a:buNone/>
            </a:pPr>
            <a:r>
              <a:rPr lang="ar-SA" dirty="0"/>
              <a:t>اضغط هنا لإضافة صورة</a:t>
            </a:r>
            <a:endParaRPr lang="en-US" dirty="0"/>
          </a:p>
        </p:txBody>
      </p:sp>
      <p:sp>
        <p:nvSpPr>
          <p:cNvPr id="7"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
        <p:nvSpPr>
          <p:cNvPr id="17" name="Rectangle 16">
            <a:extLst>
              <a:ext uri="{FF2B5EF4-FFF2-40B4-BE49-F238E27FC236}">
                <a16:creationId xmlns:a16="http://schemas.microsoft.com/office/drawing/2014/main" id="{6C61F1D1-DB9F-444F-85DA-1DDD9D25E4D9}"/>
              </a:ext>
            </a:extLst>
          </p:cNvPr>
          <p:cNvSpPr/>
          <p:nvPr userDrawn="1"/>
        </p:nvSpPr>
        <p:spPr>
          <a:xfrm>
            <a:off x="0" y="-1"/>
            <a:ext cx="12193200" cy="1456267"/>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cxnSp>
        <p:nvCxnSpPr>
          <p:cNvPr id="22" name="Straight Connector 21">
            <a:extLst>
              <a:ext uri="{FF2B5EF4-FFF2-40B4-BE49-F238E27FC236}">
                <a16:creationId xmlns:a16="http://schemas.microsoft.com/office/drawing/2014/main" id="{3836720B-0717-46CD-9A86-A131D72AF06D}"/>
              </a:ext>
            </a:extLst>
          </p:cNvPr>
          <p:cNvCxnSpPr/>
          <p:nvPr userDrawn="1"/>
        </p:nvCxnSpPr>
        <p:spPr>
          <a:xfrm>
            <a:off x="529872" y="6545987"/>
            <a:ext cx="0" cy="250219"/>
          </a:xfrm>
          <a:prstGeom prst="line">
            <a:avLst/>
          </a:prstGeom>
          <a:ln>
            <a:solidFill>
              <a:srgbClr val="12420D"/>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C44C911A-A8F4-433C-B65E-744E0EB6443E}"/>
              </a:ext>
            </a:extLst>
          </p:cNvPr>
          <p:cNvSpPr>
            <a:spLocks noGrp="1"/>
          </p:cNvSpPr>
          <p:nvPr>
            <p:ph type="body" sz="quarter" idx="23" hasCustomPrompt="1"/>
          </p:nvPr>
        </p:nvSpPr>
        <p:spPr>
          <a:xfrm>
            <a:off x="526359" y="6206401"/>
            <a:ext cx="10944915" cy="175326"/>
          </a:xfrm>
          <a:prstGeom prst="rect">
            <a:avLst/>
          </a:prstGeom>
        </p:spPr>
        <p:txBody>
          <a:bodyPr>
            <a:noAutofit/>
          </a:bodyPr>
          <a:lstStyle>
            <a:lvl1pPr algn="r" rtl="1">
              <a:spcAft>
                <a:spcPts val="0"/>
              </a:spcAft>
              <a:defRPr sz="900"/>
            </a:lvl1pPr>
          </a:lstStyle>
          <a:p>
            <a:pPr lvl="0"/>
            <a:r>
              <a:rPr lang="ar-SA" noProof="0" dirty="0"/>
              <a:t>اضغط هنا لكاتبة ملاحظة</a:t>
            </a:r>
            <a:endParaRPr lang="en-US" noProof="0" dirty="0"/>
          </a:p>
        </p:txBody>
      </p:sp>
      <p:sp>
        <p:nvSpPr>
          <p:cNvPr id="14" name="Text Placeholder 8">
            <a:extLst>
              <a:ext uri="{FF2B5EF4-FFF2-40B4-BE49-F238E27FC236}">
                <a16:creationId xmlns:a16="http://schemas.microsoft.com/office/drawing/2014/main" id="{1CBD1E54-E96A-3E4B-8830-0E90C623A6A7}"/>
              </a:ext>
            </a:extLst>
          </p:cNvPr>
          <p:cNvSpPr>
            <a:spLocks noGrp="1"/>
          </p:cNvSpPr>
          <p:nvPr>
            <p:ph type="body" sz="quarter" idx="24" hasCustomPrompt="1"/>
          </p:nvPr>
        </p:nvSpPr>
        <p:spPr>
          <a:xfrm>
            <a:off x="534825" y="621101"/>
            <a:ext cx="10936449" cy="757255"/>
          </a:xfrm>
          <a:prstGeom prst="rect">
            <a:avLst/>
          </a:prstGeom>
        </p:spPr>
        <p:txBody>
          <a:bodyPr lIns="0" tIns="0" rIns="0" bIns="0">
            <a:noAutofit/>
          </a:bodyPr>
          <a:lstStyle>
            <a:lvl1pPr marL="0" indent="0" algn="r" rtl="1">
              <a:buNone/>
              <a:defRPr sz="2400" b="0">
                <a:solidFill>
                  <a:schemeClr val="accent2"/>
                </a:solidFill>
              </a:defRPr>
            </a:lvl1pPr>
          </a:lstStyle>
          <a:p>
            <a:pPr lvl="0"/>
            <a:r>
              <a:rPr lang="ar-SA" dirty="0"/>
              <a:t>العنوان الفرعي</a:t>
            </a:r>
            <a:endParaRPr lang="en-US" dirty="0"/>
          </a:p>
        </p:txBody>
      </p:sp>
      <p:sp>
        <p:nvSpPr>
          <p:cNvPr id="15" name="Title Placeholder 1">
            <a:extLst>
              <a:ext uri="{FF2B5EF4-FFF2-40B4-BE49-F238E27FC236}">
                <a16:creationId xmlns:a16="http://schemas.microsoft.com/office/drawing/2014/main" id="{2540477A-65DD-2648-90F9-DB91301F3410}"/>
              </a:ext>
            </a:extLst>
          </p:cNvPr>
          <p:cNvSpPr>
            <a:spLocks noGrp="1"/>
          </p:cNvSpPr>
          <p:nvPr>
            <p:ph type="title" hasCustomPrompt="1"/>
          </p:nvPr>
        </p:nvSpPr>
        <p:spPr>
          <a:xfrm>
            <a:off x="534825" y="228609"/>
            <a:ext cx="10936449" cy="334099"/>
          </a:xfrm>
          <a:prstGeom prst="rect">
            <a:avLst/>
          </a:prstGeom>
        </p:spPr>
        <p:txBody>
          <a:bodyPr vert="horz" lIns="0" tIns="0" rIns="0" bIns="0" rtlCol="0" anchor="t" anchorCtr="0">
            <a:noAutofit/>
          </a:bodyPr>
          <a:lstStyle>
            <a:lvl1pPr algn="r" rtl="1">
              <a:defRPr sz="3200" b="1">
                <a:solidFill>
                  <a:schemeClr val="bg1"/>
                </a:solidFill>
                <a:latin typeface="+mj-lt"/>
              </a:defRPr>
            </a:lvl1pPr>
          </a:lstStyle>
          <a:p>
            <a:r>
              <a:rPr lang="ar-SA" dirty="0"/>
              <a:t>العنوان الرئيسي</a:t>
            </a:r>
            <a:endParaRPr lang="en-US" dirty="0"/>
          </a:p>
        </p:txBody>
      </p:sp>
      <p:pic>
        <p:nvPicPr>
          <p:cNvPr id="16" name="Picture 15">
            <a:extLst>
              <a:ext uri="{FF2B5EF4-FFF2-40B4-BE49-F238E27FC236}">
                <a16:creationId xmlns:a16="http://schemas.microsoft.com/office/drawing/2014/main" id="{0BB025DB-8452-884C-AF92-ACF46C06958F}"/>
              </a:ext>
            </a:extLst>
          </p:cNvPr>
          <p:cNvPicPr>
            <a:picLocks noChangeAspect="1"/>
          </p:cNvPicPr>
          <p:nvPr userDrawn="1"/>
        </p:nvPicPr>
        <p:blipFill>
          <a:blip r:embed="rId2"/>
          <a:stretch>
            <a:fillRect/>
          </a:stretch>
        </p:blipFill>
        <p:spPr>
          <a:xfrm>
            <a:off x="603914" y="6544217"/>
            <a:ext cx="251989" cy="251989"/>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18A9F9F9-7E33-8D4C-B366-F212B6149248}"/>
              </a:ext>
            </a:extLst>
          </p:cNvPr>
          <p:cNvPicPr>
            <a:picLocks noChangeAspect="1"/>
          </p:cNvPicPr>
          <p:nvPr userDrawn="1"/>
        </p:nvPicPr>
        <p:blipFill rotWithShape="1">
          <a:blip r:embed="rId3"/>
          <a:srcRect l="53086" r="2956"/>
          <a:stretch/>
        </p:blipFill>
        <p:spPr>
          <a:xfrm flipH="1">
            <a:off x="11695043" y="10366"/>
            <a:ext cx="496957" cy="1225317"/>
          </a:xfrm>
          <a:prstGeom prst="rect">
            <a:avLst/>
          </a:prstGeom>
        </p:spPr>
      </p:pic>
    </p:spTree>
    <p:extLst>
      <p:ext uri="{BB962C8B-B14F-4D97-AF65-F5344CB8AC3E}">
        <p14:creationId xmlns:p14="http://schemas.microsoft.com/office/powerpoint/2010/main" val="32211883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8" name="Flowchart: Connector 37">
            <a:extLst>
              <a:ext uri="{FF2B5EF4-FFF2-40B4-BE49-F238E27FC236}">
                <a16:creationId xmlns:a16="http://schemas.microsoft.com/office/drawing/2014/main" id="{DE67C452-640B-4AFF-A374-F1B761F586D3}"/>
              </a:ext>
            </a:extLst>
          </p:cNvPr>
          <p:cNvSpPr/>
          <p:nvPr userDrawn="1"/>
        </p:nvSpPr>
        <p:spPr>
          <a:xfrm>
            <a:off x="8396506" y="5848876"/>
            <a:ext cx="388087" cy="388087"/>
          </a:xfrm>
          <a:prstGeom prst="flowChartConnector">
            <a:avLst/>
          </a:prstGeom>
          <a:solidFill>
            <a:srgbClr val="12420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lowchart: Connector 38">
            <a:extLst>
              <a:ext uri="{FF2B5EF4-FFF2-40B4-BE49-F238E27FC236}">
                <a16:creationId xmlns:a16="http://schemas.microsoft.com/office/drawing/2014/main" id="{25971DFA-FE42-4B32-B145-08FB271087FF}"/>
              </a:ext>
            </a:extLst>
          </p:cNvPr>
          <p:cNvSpPr/>
          <p:nvPr userDrawn="1"/>
        </p:nvSpPr>
        <p:spPr>
          <a:xfrm>
            <a:off x="8396506" y="6292727"/>
            <a:ext cx="388087" cy="388087"/>
          </a:xfrm>
          <a:prstGeom prst="flowChartConnector">
            <a:avLst/>
          </a:prstGeom>
          <a:solidFill>
            <a:srgbClr val="12420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Connector 3">
            <a:extLst>
              <a:ext uri="{FF2B5EF4-FFF2-40B4-BE49-F238E27FC236}">
                <a16:creationId xmlns:a16="http://schemas.microsoft.com/office/drawing/2014/main" id="{D91F16B4-B6A0-4D01-A520-DEFBAB047B34}"/>
              </a:ext>
            </a:extLst>
          </p:cNvPr>
          <p:cNvSpPr/>
          <p:nvPr userDrawn="1"/>
        </p:nvSpPr>
        <p:spPr>
          <a:xfrm>
            <a:off x="8396506" y="5405025"/>
            <a:ext cx="388087" cy="388087"/>
          </a:xfrm>
          <a:prstGeom prst="flowChartConnector">
            <a:avLst/>
          </a:prstGeom>
          <a:solidFill>
            <a:srgbClr val="12420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5B78220-4283-486A-A031-704D24A6E725}"/>
              </a:ext>
            </a:extLst>
          </p:cNvPr>
          <p:cNvSpPr/>
          <p:nvPr userDrawn="1"/>
        </p:nvSpPr>
        <p:spPr>
          <a:xfrm>
            <a:off x="0" y="-1"/>
            <a:ext cx="8277225" cy="6858001"/>
          </a:xfrm>
          <a:prstGeom prst="rect">
            <a:avLst/>
          </a:prstGeom>
          <a:solidFill>
            <a:srgbClr val="12420D"/>
          </a:solidFill>
          <a:ln w="10795" cap="flat" cmpd="sng" algn="ctr">
            <a:noFill/>
            <a:prstDash val="solid"/>
          </a:ln>
          <a:effectLst/>
        </p:spPr>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grpSp>
        <p:nvGrpSpPr>
          <p:cNvPr id="2" name="Group 1">
            <a:extLst>
              <a:ext uri="{FF2B5EF4-FFF2-40B4-BE49-F238E27FC236}">
                <a16:creationId xmlns:a16="http://schemas.microsoft.com/office/drawing/2014/main" id="{CF295E1C-41FB-4554-AE96-B71EF40DE4F2}"/>
              </a:ext>
            </a:extLst>
          </p:cNvPr>
          <p:cNvGrpSpPr/>
          <p:nvPr userDrawn="1"/>
        </p:nvGrpSpPr>
        <p:grpSpPr>
          <a:xfrm>
            <a:off x="1211561" y="487689"/>
            <a:ext cx="5854103" cy="5882620"/>
            <a:chOff x="3739553" y="1508125"/>
            <a:chExt cx="4562475" cy="4584700"/>
          </a:xfrm>
        </p:grpSpPr>
        <p:pic>
          <p:nvPicPr>
            <p:cNvPr id="6" name="Picture 5">
              <a:extLst>
                <a:ext uri="{FF2B5EF4-FFF2-40B4-BE49-F238E27FC236}">
                  <a16:creationId xmlns:a16="http://schemas.microsoft.com/office/drawing/2014/main" id="{8B3F03CA-C575-4760-A1DD-4622BEADCF65}"/>
                </a:ext>
              </a:extLst>
            </p:cNvPr>
            <p:cNvPicPr>
              <a:picLocks noChangeAspect="1"/>
            </p:cNvPicPr>
            <p:nvPr userDrawn="1"/>
          </p:nvPicPr>
          <p:blipFill rotWithShape="1">
            <a:blip r:embed="rId2"/>
            <a:srcRect l="50000"/>
            <a:stretch/>
          </p:blipFill>
          <p:spPr>
            <a:xfrm>
              <a:off x="6010275" y="1508125"/>
              <a:ext cx="2291753" cy="4584700"/>
            </a:xfrm>
            <a:prstGeom prst="rect">
              <a:avLst/>
            </a:prstGeom>
          </p:spPr>
        </p:pic>
        <p:pic>
          <p:nvPicPr>
            <p:cNvPr id="7" name="Picture 6">
              <a:extLst>
                <a:ext uri="{FF2B5EF4-FFF2-40B4-BE49-F238E27FC236}">
                  <a16:creationId xmlns:a16="http://schemas.microsoft.com/office/drawing/2014/main" id="{E79BAF4A-0BE3-40B9-9D6C-7E97509E337D}"/>
                </a:ext>
              </a:extLst>
            </p:cNvPr>
            <p:cNvPicPr>
              <a:picLocks noChangeAspect="1"/>
            </p:cNvPicPr>
            <p:nvPr userDrawn="1"/>
          </p:nvPicPr>
          <p:blipFill rotWithShape="1">
            <a:blip r:embed="rId2"/>
            <a:srcRect l="50000"/>
            <a:stretch/>
          </p:blipFill>
          <p:spPr>
            <a:xfrm flipH="1">
              <a:off x="3739553" y="1508125"/>
              <a:ext cx="2291753" cy="4584700"/>
            </a:xfrm>
            <a:prstGeom prst="rect">
              <a:avLst/>
            </a:prstGeom>
          </p:spPr>
        </p:pic>
      </p:grpSp>
      <p:sp>
        <p:nvSpPr>
          <p:cNvPr id="3" name="مربع نص 2">
            <a:extLst>
              <a:ext uri="{FF2B5EF4-FFF2-40B4-BE49-F238E27FC236}">
                <a16:creationId xmlns:a16="http://schemas.microsoft.com/office/drawing/2014/main" id="{B3844120-D015-D242-8394-D86AB194F74F}"/>
              </a:ext>
            </a:extLst>
          </p:cNvPr>
          <p:cNvSpPr txBox="1"/>
          <p:nvPr userDrawn="1"/>
        </p:nvSpPr>
        <p:spPr>
          <a:xfrm>
            <a:off x="8830570" y="6211957"/>
            <a:ext cx="0" cy="0"/>
          </a:xfrm>
          <a:prstGeom prst="rect">
            <a:avLst/>
          </a:prstGeom>
        </p:spPr>
        <p:txBody>
          <a:bodyPr vert="horz" wrap="none" lIns="0" tIns="0" rIns="0" bIns="0" rtlCol="1" anchor="t">
            <a:noAutofit/>
          </a:bodyPr>
          <a:lstStyle/>
          <a:p>
            <a:pPr algn="l"/>
            <a:endParaRPr lang="ar-SA" sz="2800" dirty="0">
              <a:solidFill>
                <a:schemeClr val="accent1"/>
              </a:solidFill>
            </a:endParaRPr>
          </a:p>
        </p:txBody>
      </p:sp>
      <p:pic>
        <p:nvPicPr>
          <p:cNvPr id="11" name="Picture 10">
            <a:extLst>
              <a:ext uri="{FF2B5EF4-FFF2-40B4-BE49-F238E27FC236}">
                <a16:creationId xmlns:a16="http://schemas.microsoft.com/office/drawing/2014/main" id="{2312350E-61B1-4FE5-BC99-BFFDA733B3F7}"/>
              </a:ext>
            </a:extLst>
          </p:cNvPr>
          <p:cNvPicPr>
            <a:picLocks noChangeAspect="1"/>
          </p:cNvPicPr>
          <p:nvPr userDrawn="1"/>
        </p:nvPicPr>
        <p:blipFill>
          <a:blip r:embed="rId3"/>
          <a:stretch>
            <a:fillRect/>
          </a:stretch>
        </p:blipFill>
        <p:spPr>
          <a:xfrm>
            <a:off x="8709511" y="447217"/>
            <a:ext cx="3179760" cy="1134000"/>
          </a:xfrm>
          <a:prstGeom prst="rect">
            <a:avLst/>
          </a:prstGeom>
        </p:spPr>
      </p:pic>
      <p:sp>
        <p:nvSpPr>
          <p:cNvPr id="5" name="Title 4">
            <a:extLst>
              <a:ext uri="{FF2B5EF4-FFF2-40B4-BE49-F238E27FC236}">
                <a16:creationId xmlns:a16="http://schemas.microsoft.com/office/drawing/2014/main" id="{AB069963-0EA8-43DE-9FBB-513EA4374E79}"/>
              </a:ext>
            </a:extLst>
          </p:cNvPr>
          <p:cNvSpPr>
            <a:spLocks noGrp="1"/>
          </p:cNvSpPr>
          <p:nvPr>
            <p:ph type="title" hasCustomPrompt="1"/>
          </p:nvPr>
        </p:nvSpPr>
        <p:spPr>
          <a:xfrm>
            <a:off x="2084424" y="3049464"/>
            <a:ext cx="4108376" cy="759071"/>
          </a:xfrm>
          <a:prstGeom prst="rect">
            <a:avLst/>
          </a:prstGeom>
          <a:noFill/>
          <a:extLst>
            <a:ext uri="{909E8E84-426E-40DD-AFC4-6F175D3DCCD1}">
              <a14:hiddenFill xmlns:a14="http://schemas.microsoft.com/office/drawing/2010/main">
                <a:solidFill>
                  <a:schemeClr val="accent2"/>
                </a:solidFill>
              </a14:hiddenFill>
            </a:ext>
          </a:extLst>
        </p:spPr>
        <p:txBody>
          <a:bodyPr vert="horz" wrap="square" lIns="0" tIns="0" rIns="0" bIns="0" anchor="ctr" anchorCtr="0">
            <a:noAutofit/>
          </a:bodyPr>
          <a:lstStyle>
            <a:lvl1pPr marL="0" indent="0" algn="ctr" rtl="1">
              <a:lnSpc>
                <a:spcPct val="100000"/>
              </a:lnSpc>
              <a:spcBef>
                <a:spcPts val="0"/>
              </a:spcBef>
              <a:spcAft>
                <a:spcPts val="0"/>
              </a:spcAft>
              <a:defRPr sz="3600" b="1" i="0" u="none" kern="1200" spc="0">
                <a:solidFill>
                  <a:schemeClr val="bg1"/>
                </a:solidFill>
                <a:latin typeface="Sakkal Majalla" panose="02000000000000000000" pitchFamily="2" charset="-78"/>
              </a:defRPr>
            </a:lvl1pPr>
          </a:lstStyle>
          <a:p>
            <a:pPr lvl="0"/>
            <a:r>
              <a:rPr lang="ar-SA" dirty="0"/>
              <a:t>شكرًا لحسن استماعكم..</a:t>
            </a:r>
            <a:endParaRPr lang="en-US" dirty="0"/>
          </a:p>
        </p:txBody>
      </p:sp>
      <p:sp>
        <p:nvSpPr>
          <p:cNvPr id="14" name="Google Shape;6724;p57">
            <a:extLst>
              <a:ext uri="{FF2B5EF4-FFF2-40B4-BE49-F238E27FC236}">
                <a16:creationId xmlns:a16="http://schemas.microsoft.com/office/drawing/2014/main" id="{CE50C49D-7143-47F0-BC23-15FE9755F068}"/>
              </a:ext>
            </a:extLst>
          </p:cNvPr>
          <p:cNvSpPr/>
          <p:nvPr/>
        </p:nvSpPr>
        <p:spPr>
          <a:xfrm>
            <a:off x="8459386" y="6356465"/>
            <a:ext cx="272960" cy="271493"/>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chemeClr val="bg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grpSp>
        <p:nvGrpSpPr>
          <p:cNvPr id="15" name="Google Shape;8472;p61">
            <a:extLst>
              <a:ext uri="{FF2B5EF4-FFF2-40B4-BE49-F238E27FC236}">
                <a16:creationId xmlns:a16="http://schemas.microsoft.com/office/drawing/2014/main" id="{FB68872A-2063-4322-8DB3-6D1657B9A3B0}"/>
              </a:ext>
            </a:extLst>
          </p:cNvPr>
          <p:cNvGrpSpPr/>
          <p:nvPr/>
        </p:nvGrpSpPr>
        <p:grpSpPr>
          <a:xfrm>
            <a:off x="8468614" y="5513180"/>
            <a:ext cx="243870" cy="171776"/>
            <a:chOff x="-1199300" y="3279250"/>
            <a:chExt cx="293025" cy="206400"/>
          </a:xfrm>
          <a:solidFill>
            <a:schemeClr val="bg1"/>
          </a:solidFill>
        </p:grpSpPr>
        <p:sp>
          <p:nvSpPr>
            <p:cNvPr id="32" name="Google Shape;8473;p61">
              <a:extLst>
                <a:ext uri="{FF2B5EF4-FFF2-40B4-BE49-F238E27FC236}">
                  <a16:creationId xmlns:a16="http://schemas.microsoft.com/office/drawing/2014/main" id="{52188F7F-46B0-4590-A309-33FF2A98320C}"/>
                </a:ext>
              </a:extLst>
            </p:cNvPr>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33" name="Google Shape;8474;p61">
              <a:extLst>
                <a:ext uri="{FF2B5EF4-FFF2-40B4-BE49-F238E27FC236}">
                  <a16:creationId xmlns:a16="http://schemas.microsoft.com/office/drawing/2014/main" id="{744AA0B7-1CF9-4BCD-9ACF-D9C5143E5633}"/>
                </a:ext>
              </a:extLst>
            </p:cNvPr>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34" name="Google Shape;8475;p61">
              <a:extLst>
                <a:ext uri="{FF2B5EF4-FFF2-40B4-BE49-F238E27FC236}">
                  <a16:creationId xmlns:a16="http://schemas.microsoft.com/office/drawing/2014/main" id="{BB080E04-1D05-4C6F-B53A-4A8CB0F596F6}"/>
                </a:ext>
              </a:extLst>
            </p:cNvPr>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35" name="Google Shape;8476;p61">
              <a:extLst>
                <a:ext uri="{FF2B5EF4-FFF2-40B4-BE49-F238E27FC236}">
                  <a16:creationId xmlns:a16="http://schemas.microsoft.com/office/drawing/2014/main" id="{17F6B243-953D-48CE-8146-20A938FD5DF0}"/>
                </a:ext>
              </a:extLst>
            </p:cNvPr>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grpSp>
      <p:sp>
        <p:nvSpPr>
          <p:cNvPr id="16" name="TextBox 15">
            <a:extLst>
              <a:ext uri="{FF2B5EF4-FFF2-40B4-BE49-F238E27FC236}">
                <a16:creationId xmlns:a16="http://schemas.microsoft.com/office/drawing/2014/main" id="{BBCCC227-49F7-43E4-952E-CBFF3AEBFAE2}"/>
              </a:ext>
            </a:extLst>
          </p:cNvPr>
          <p:cNvSpPr txBox="1"/>
          <p:nvPr/>
        </p:nvSpPr>
        <p:spPr>
          <a:xfrm>
            <a:off x="8849213" y="5517449"/>
            <a:ext cx="1445945"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B79F65"/>
                </a:solidFill>
                <a:effectLst/>
                <a:uLnTx/>
                <a:uFillTx/>
                <a:latin typeface="Georgia Pro" panose="02040502050405020303" pitchFamily="18" charset="0"/>
                <a:ea typeface="+mn-ea"/>
                <a:cs typeface="Sakkal Majalla"/>
                <a:hlinkClick r:id="rId4"/>
              </a:rPr>
              <a:t>MNGDP@sang.gov.sa</a:t>
            </a:r>
            <a:endParaRPr kumimoji="0" lang="en-US" sz="800" b="0" i="0" u="none" strike="noStrike" kern="1200" cap="none" spc="0" normalizeH="0" baseline="0" noProof="0" dirty="0">
              <a:ln>
                <a:noFill/>
              </a:ln>
              <a:solidFill>
                <a:srgbClr val="B79F65"/>
              </a:solidFill>
              <a:effectLst/>
              <a:uLnTx/>
              <a:uFillTx/>
              <a:latin typeface="Georgia Pro" panose="02040502050405020303" pitchFamily="18" charset="0"/>
              <a:ea typeface="+mn-ea"/>
              <a:cs typeface="Sakkal Majalla"/>
            </a:endParaRPr>
          </a:p>
        </p:txBody>
      </p:sp>
      <p:sp>
        <p:nvSpPr>
          <p:cNvPr id="17" name="TextBox 16">
            <a:extLst>
              <a:ext uri="{FF2B5EF4-FFF2-40B4-BE49-F238E27FC236}">
                <a16:creationId xmlns:a16="http://schemas.microsoft.com/office/drawing/2014/main" id="{2CF04B93-7757-46BF-A6B1-2EA414BCA289}"/>
              </a:ext>
            </a:extLst>
          </p:cNvPr>
          <p:cNvSpPr txBox="1"/>
          <p:nvPr/>
        </p:nvSpPr>
        <p:spPr>
          <a:xfrm>
            <a:off x="8849213" y="6423419"/>
            <a:ext cx="1317674"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B79F65"/>
                </a:solidFill>
                <a:effectLst/>
                <a:uLnTx/>
                <a:uFillTx/>
                <a:latin typeface="Georgia" panose="02040502050405020303" pitchFamily="18" charset="0"/>
                <a:ea typeface="+mn-ea"/>
                <a:cs typeface="Sakkal Majalla"/>
              </a:rPr>
              <a:t>00966555006705</a:t>
            </a:r>
            <a:endParaRPr kumimoji="0" lang="en-US" sz="1050" b="0" i="0" u="none" strike="noStrike" kern="1200" cap="none" spc="0" normalizeH="0" baseline="0" noProof="0" dirty="0">
              <a:ln>
                <a:noFill/>
              </a:ln>
              <a:solidFill>
                <a:srgbClr val="B79F65"/>
              </a:solidFill>
              <a:effectLst/>
              <a:uLnTx/>
              <a:uFillTx/>
              <a:latin typeface="Georgia" panose="02040502050405020303" pitchFamily="18" charset="0"/>
              <a:ea typeface="+mn-ea"/>
              <a:cs typeface="Sakkal Majalla"/>
            </a:endParaRPr>
          </a:p>
        </p:txBody>
      </p:sp>
      <p:grpSp>
        <p:nvGrpSpPr>
          <p:cNvPr id="18" name="Google Shape;8434;p61">
            <a:extLst>
              <a:ext uri="{FF2B5EF4-FFF2-40B4-BE49-F238E27FC236}">
                <a16:creationId xmlns:a16="http://schemas.microsoft.com/office/drawing/2014/main" id="{F2F77584-E644-479D-81F5-35A044DB2AB8}"/>
              </a:ext>
            </a:extLst>
          </p:cNvPr>
          <p:cNvGrpSpPr/>
          <p:nvPr/>
        </p:nvGrpSpPr>
        <p:grpSpPr>
          <a:xfrm>
            <a:off x="8406183" y="5928350"/>
            <a:ext cx="306943" cy="305083"/>
            <a:chOff x="-6689825" y="3992050"/>
            <a:chExt cx="293025" cy="291250"/>
          </a:xfrm>
          <a:solidFill>
            <a:schemeClr val="bg1"/>
          </a:solidFill>
        </p:grpSpPr>
        <p:sp>
          <p:nvSpPr>
            <p:cNvPr id="20" name="Google Shape;8435;p61">
              <a:extLst>
                <a:ext uri="{FF2B5EF4-FFF2-40B4-BE49-F238E27FC236}">
                  <a16:creationId xmlns:a16="http://schemas.microsoft.com/office/drawing/2014/main" id="{2CFF7662-7F29-46F6-87FA-FDB2A65F6832}"/>
                </a:ext>
              </a:extLst>
            </p:cNvPr>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1" name="Google Shape;8436;p61">
              <a:extLst>
                <a:ext uri="{FF2B5EF4-FFF2-40B4-BE49-F238E27FC236}">
                  <a16:creationId xmlns:a16="http://schemas.microsoft.com/office/drawing/2014/main" id="{2DCBBAE4-3EBB-48F5-9A27-044382322006}"/>
                </a:ext>
              </a:extLst>
            </p:cNvPr>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2" name="Google Shape;8437;p61">
              <a:extLst>
                <a:ext uri="{FF2B5EF4-FFF2-40B4-BE49-F238E27FC236}">
                  <a16:creationId xmlns:a16="http://schemas.microsoft.com/office/drawing/2014/main" id="{0CCCBE71-2C10-4E97-9126-D39FB963550D}"/>
                </a:ext>
              </a:extLst>
            </p:cNvPr>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3" name="Google Shape;8438;p61">
              <a:extLst>
                <a:ext uri="{FF2B5EF4-FFF2-40B4-BE49-F238E27FC236}">
                  <a16:creationId xmlns:a16="http://schemas.microsoft.com/office/drawing/2014/main" id="{3071DBB8-40F9-4735-8F0C-F1BB7A6C3E43}"/>
                </a:ext>
              </a:extLst>
            </p:cNvPr>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4" name="Google Shape;8439;p61">
              <a:extLst>
                <a:ext uri="{FF2B5EF4-FFF2-40B4-BE49-F238E27FC236}">
                  <a16:creationId xmlns:a16="http://schemas.microsoft.com/office/drawing/2014/main" id="{20A0B146-75A6-4AFA-9BE6-E770574016EA}"/>
                </a:ext>
              </a:extLst>
            </p:cNvPr>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5" name="Google Shape;8440;p61">
              <a:extLst>
                <a:ext uri="{FF2B5EF4-FFF2-40B4-BE49-F238E27FC236}">
                  <a16:creationId xmlns:a16="http://schemas.microsoft.com/office/drawing/2014/main" id="{ED3FF272-DA59-4E84-9404-D36819A0B28C}"/>
                </a:ext>
              </a:extLst>
            </p:cNvPr>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6" name="Google Shape;8441;p61">
              <a:extLst>
                <a:ext uri="{FF2B5EF4-FFF2-40B4-BE49-F238E27FC236}">
                  <a16:creationId xmlns:a16="http://schemas.microsoft.com/office/drawing/2014/main" id="{74D5902F-0D4D-498D-B526-0A7412F0041C}"/>
                </a:ext>
              </a:extLst>
            </p:cNvPr>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7" name="Google Shape;8442;p61">
              <a:extLst>
                <a:ext uri="{FF2B5EF4-FFF2-40B4-BE49-F238E27FC236}">
                  <a16:creationId xmlns:a16="http://schemas.microsoft.com/office/drawing/2014/main" id="{2619BB36-107C-4316-8E45-7FD217709A36}"/>
                </a:ext>
              </a:extLst>
            </p:cNvPr>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8" name="Google Shape;8443;p61">
              <a:extLst>
                <a:ext uri="{FF2B5EF4-FFF2-40B4-BE49-F238E27FC236}">
                  <a16:creationId xmlns:a16="http://schemas.microsoft.com/office/drawing/2014/main" id="{FCCD26C8-DD5D-46A0-AE21-DE03B1E6EF78}"/>
                </a:ext>
              </a:extLst>
            </p:cNvPr>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29" name="Google Shape;8444;p61">
              <a:extLst>
                <a:ext uri="{FF2B5EF4-FFF2-40B4-BE49-F238E27FC236}">
                  <a16:creationId xmlns:a16="http://schemas.microsoft.com/office/drawing/2014/main" id="{AC6B68DF-7A2B-4FB8-B3B4-B06FFE7C8CB5}"/>
                </a:ext>
              </a:extLst>
            </p:cNvPr>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30" name="Google Shape;8445;p61">
              <a:extLst>
                <a:ext uri="{FF2B5EF4-FFF2-40B4-BE49-F238E27FC236}">
                  <a16:creationId xmlns:a16="http://schemas.microsoft.com/office/drawing/2014/main" id="{A3FDF81F-6EFE-4C9E-AB98-B856DE076BD3}"/>
                </a:ext>
              </a:extLst>
            </p:cNvPr>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sp>
          <p:nvSpPr>
            <p:cNvPr id="31" name="Google Shape;8446;p61">
              <a:extLst>
                <a:ext uri="{FF2B5EF4-FFF2-40B4-BE49-F238E27FC236}">
                  <a16:creationId xmlns:a16="http://schemas.microsoft.com/office/drawing/2014/main" id="{5912450E-E0E6-441C-BB56-31F6592AD36A}"/>
                </a:ext>
              </a:extLst>
            </p:cNvPr>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B79F65"/>
                </a:solidFill>
                <a:effectLst/>
                <a:uLnTx/>
                <a:uFillTx/>
                <a:latin typeface="Georgia Pro" panose="02040502050405020303" pitchFamily="18" charset="0"/>
                <a:ea typeface="+mn-ea"/>
                <a:cs typeface="Sakkal Majalla"/>
              </a:endParaRPr>
            </a:p>
          </p:txBody>
        </p:sp>
      </p:grpSp>
      <p:sp>
        <p:nvSpPr>
          <p:cNvPr id="19" name="TextBox 18">
            <a:extLst>
              <a:ext uri="{FF2B5EF4-FFF2-40B4-BE49-F238E27FC236}">
                <a16:creationId xmlns:a16="http://schemas.microsoft.com/office/drawing/2014/main" id="{06894389-4724-4B18-B13E-C02E872EF642}"/>
              </a:ext>
            </a:extLst>
          </p:cNvPr>
          <p:cNvSpPr txBox="1"/>
          <p:nvPr/>
        </p:nvSpPr>
        <p:spPr>
          <a:xfrm>
            <a:off x="8849213" y="5988635"/>
            <a:ext cx="1771419"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B79F65"/>
                </a:solidFill>
                <a:effectLst/>
                <a:uLnTx/>
                <a:uFillTx/>
                <a:latin typeface="Georgia Pro" panose="02040502050405020303" pitchFamily="18" charset="0"/>
                <a:ea typeface="+mn-ea"/>
                <a:cs typeface="Sakkal Majalla"/>
                <a:hlinkClick r:id="rId5"/>
              </a:rPr>
              <a:t>https://mngdp.sang.gov.sa/</a:t>
            </a:r>
            <a:endParaRPr kumimoji="0" lang="en-US" sz="800" b="0" i="0" u="none" strike="noStrike" kern="1200" cap="none" spc="0" normalizeH="0" baseline="0" noProof="0" dirty="0">
              <a:ln>
                <a:noFill/>
              </a:ln>
              <a:solidFill>
                <a:srgbClr val="B79F65"/>
              </a:solidFill>
              <a:effectLst/>
              <a:uLnTx/>
              <a:uFillTx/>
              <a:latin typeface="Georgia Pro" panose="02040502050405020303" pitchFamily="18" charset="0"/>
              <a:ea typeface="+mn-ea"/>
              <a:cs typeface="Sakkal Majalla"/>
            </a:endParaRPr>
          </a:p>
        </p:txBody>
      </p:sp>
      <p:cxnSp>
        <p:nvCxnSpPr>
          <p:cNvPr id="37" name="Straight Connector 36">
            <a:extLst>
              <a:ext uri="{FF2B5EF4-FFF2-40B4-BE49-F238E27FC236}">
                <a16:creationId xmlns:a16="http://schemas.microsoft.com/office/drawing/2014/main" id="{320D3C36-547D-4C09-AAA6-ED61B8FCC188}"/>
              </a:ext>
            </a:extLst>
          </p:cNvPr>
          <p:cNvCxnSpPr/>
          <p:nvPr userDrawn="1"/>
        </p:nvCxnSpPr>
        <p:spPr>
          <a:xfrm>
            <a:off x="8835048" y="5373762"/>
            <a:ext cx="0" cy="1391204"/>
          </a:xfrm>
          <a:prstGeom prst="line">
            <a:avLst/>
          </a:prstGeom>
          <a:ln>
            <a:solidFill>
              <a:srgbClr val="1242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5525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orient="horz" pos="346">
          <p15:clr>
            <a:srgbClr val="FBAE40"/>
          </p15:clr>
        </p15:guide>
        <p15:guide id="5" orient="horz" pos="3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95A96B-D126-4FFB-A646-885F6235E43D}"/>
              </a:ext>
            </a:extLst>
          </p:cNvPr>
          <p:cNvGraphicFramePr>
            <a:graphicFrameLocks noChangeAspect="1"/>
          </p:cNvGraphicFramePr>
          <p:nvPr userDrawn="1">
            <p:custDataLst>
              <p:tags r:id="rId1"/>
            </p:custDataLst>
            <p:extLst>
              <p:ext uri="{D42A27DB-BD31-4B8C-83A1-F6EECF244321}">
                <p14:modId xmlns:p14="http://schemas.microsoft.com/office/powerpoint/2010/main" val="33633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4" name="Object 3" hidden="1">
                        <a:extLst>
                          <a:ext uri="{FF2B5EF4-FFF2-40B4-BE49-F238E27FC236}">
                            <a16:creationId xmlns:a16="http://schemas.microsoft.com/office/drawing/2014/main" id="{6D95A96B-D126-4FFB-A646-885F6235E4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8F0E8AE-7F57-490C-BAB7-612402A5B54A}"/>
              </a:ext>
            </a:extLst>
          </p:cNvPr>
          <p:cNvSpPr/>
          <p:nvPr userDrawn="1"/>
        </p:nvSpPr>
        <p:spPr>
          <a:xfrm>
            <a:off x="-17243" y="0"/>
            <a:ext cx="2799354"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rgia Pro" panose="02040502050405020303" pitchFamily="18" charset="0"/>
              <a:sym typeface="Georgia Pro" panose="02040502050405020303" pitchFamily="18" charset="0"/>
            </a:endParaRPr>
          </a:p>
        </p:txBody>
      </p:sp>
      <p:sp>
        <p:nvSpPr>
          <p:cNvPr id="26" name="Content Placeholder 2">
            <a:extLst>
              <a:ext uri="{FF2B5EF4-FFF2-40B4-BE49-F238E27FC236}">
                <a16:creationId xmlns:a16="http://schemas.microsoft.com/office/drawing/2014/main" id="{6AE741EE-72AE-1F44-A778-695B47CF24A9}"/>
              </a:ext>
            </a:extLst>
          </p:cNvPr>
          <p:cNvSpPr>
            <a:spLocks noGrp="1"/>
          </p:cNvSpPr>
          <p:nvPr>
            <p:ph idx="19" hasCustomPrompt="1"/>
          </p:nvPr>
        </p:nvSpPr>
        <p:spPr>
          <a:xfrm>
            <a:off x="4380134" y="1250239"/>
            <a:ext cx="6674034" cy="769370"/>
          </a:xfrm>
          <a:prstGeom prst="rect">
            <a:avLst/>
          </a:prstGeom>
        </p:spPr>
        <p:txBody>
          <a:bodyPr wrap="square" lIns="0" tIns="0" rIns="0" bIns="0" anchor="ctr" anchorCtr="0">
            <a:noAutofit/>
          </a:bodyPr>
          <a:lstStyle>
            <a:lvl1pPr marL="0" indent="0" algn="l" rtl="0">
              <a:buNone/>
              <a:tabLst/>
              <a:defRPr sz="2400" b="0" i="0">
                <a:solidFill>
                  <a:schemeClr val="accent1">
                    <a:lumMod val="50000"/>
                  </a:schemeClr>
                </a:solidFill>
                <a:latin typeface="Georgia Pro" panose="02040502050405020303" pitchFamily="18" charset="0"/>
                <a:cs typeface="+mj-cs"/>
                <a:sym typeface="Georgia Pro" panose="02040502050405020303" pitchFamily="18" charset="0"/>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l" rtl="0">
              <a:buNone/>
              <a:tabLst/>
              <a:defRPr b="1">
                <a:solidFill>
                  <a:schemeClr val="accent1">
                    <a:lumMod val="50000"/>
                  </a:schemeClr>
                </a:solidFill>
                <a:latin typeface="Georgia Pro" panose="02040502050405020303" pitchFamily="18" charset="0"/>
                <a:sym typeface="Georgia Pro" panose="02040502050405020303" pitchFamily="18" charset="0"/>
              </a:defRPr>
            </a:lvl3pPr>
            <a:lvl4pPr marL="1371600" indent="0">
              <a:buNone/>
              <a:defRPr/>
            </a:lvl4pPr>
            <a:lvl5pPr marL="1828800" indent="0">
              <a:buNone/>
              <a:defRPr/>
            </a:lvl5pPr>
          </a:lstStyle>
          <a:p>
            <a:r>
              <a:rPr lang="en"/>
              <a:t>Subtitle</a:t>
            </a:r>
            <a:r>
              <a:rPr lang="ar-SA"/>
              <a:t> ،</a:t>
            </a:r>
            <a:r>
              <a:rPr lang="en-US" err="1"/>
              <a:t>sakkal</a:t>
            </a:r>
            <a:r>
              <a:rPr lang="en-US"/>
              <a:t> </a:t>
            </a:r>
            <a:r>
              <a:rPr lang="en-US" err="1"/>
              <a:t>majalla</a:t>
            </a:r>
            <a:r>
              <a:rPr lang="en-US"/>
              <a:t> 32 </a:t>
            </a:r>
            <a:r>
              <a:rPr lang="en-US" err="1"/>
              <a:t>pt</a:t>
            </a:r>
            <a:endParaRPr lang="en-US"/>
          </a:p>
          <a:p>
            <a:pPr lvl="2"/>
            <a:r>
              <a:rPr lang="en-US"/>
              <a:t>Subtitle , </a:t>
            </a:r>
            <a:r>
              <a:rPr lang="en-US" err="1"/>
              <a:t>sakkal</a:t>
            </a:r>
            <a:r>
              <a:rPr lang="en-US"/>
              <a:t> </a:t>
            </a:r>
            <a:r>
              <a:rPr lang="en-US" err="1"/>
              <a:t>majalla</a:t>
            </a:r>
            <a:r>
              <a:rPr lang="en-US"/>
              <a:t> 28 </a:t>
            </a:r>
            <a:r>
              <a:rPr lang="en-US" err="1"/>
              <a:t>pt</a:t>
            </a:r>
            <a:endParaRPr lang="en-US"/>
          </a:p>
        </p:txBody>
      </p:sp>
      <p:sp>
        <p:nvSpPr>
          <p:cNvPr id="27" name="Content Placeholder 2">
            <a:extLst>
              <a:ext uri="{FF2B5EF4-FFF2-40B4-BE49-F238E27FC236}">
                <a16:creationId xmlns:a16="http://schemas.microsoft.com/office/drawing/2014/main" id="{28CDB4FA-D793-3A43-849B-FAA3D14351C3}"/>
              </a:ext>
            </a:extLst>
          </p:cNvPr>
          <p:cNvSpPr>
            <a:spLocks noGrp="1"/>
          </p:cNvSpPr>
          <p:nvPr>
            <p:ph idx="20" hasCustomPrompt="1"/>
          </p:nvPr>
        </p:nvSpPr>
        <p:spPr>
          <a:xfrm>
            <a:off x="3178691" y="4522284"/>
            <a:ext cx="1005203" cy="523500"/>
          </a:xfrm>
          <a:prstGeom prst="rect">
            <a:avLst/>
          </a:prstGeom>
          <a:noFill/>
        </p:spPr>
        <p:txBody>
          <a:bodyPr wrap="square" lIns="0" tIns="0" rIns="0" bIns="0" anchor="ctr" anchorCtr="0">
            <a:noAutofit/>
          </a:bodyPr>
          <a:lstStyle>
            <a:lvl1pPr marL="0" indent="0" algn="l" rtl="1">
              <a:buNone/>
              <a:tabLst/>
              <a:defRPr sz="3600">
                <a:ln>
                  <a:noFill/>
                </a:ln>
                <a:solidFill>
                  <a:schemeClr val="accent3"/>
                </a:solidFill>
                <a:effectLst>
                  <a:outerShdw dist="50800" dir="5400000" sx="1000" sy="1000" algn="ctr" rotWithShape="0">
                    <a:srgbClr val="000000">
                      <a:alpha val="0"/>
                    </a:srgbClr>
                  </a:outerShdw>
                </a:effectLst>
                <a:latin typeface="Georgia Pro" panose="02040502050405020303" pitchFamily="18" charset="0"/>
                <a:sym typeface="Georgia Pro" panose="02040502050405020303" pitchFamily="18" charset="0"/>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en-US"/>
              <a:t>04</a:t>
            </a:r>
          </a:p>
        </p:txBody>
      </p:sp>
      <p:sp>
        <p:nvSpPr>
          <p:cNvPr id="29" name="Content Placeholder 2">
            <a:extLst>
              <a:ext uri="{FF2B5EF4-FFF2-40B4-BE49-F238E27FC236}">
                <a16:creationId xmlns:a16="http://schemas.microsoft.com/office/drawing/2014/main" id="{48E492F4-11AA-824E-8AD6-484663D1DB4A}"/>
              </a:ext>
            </a:extLst>
          </p:cNvPr>
          <p:cNvSpPr>
            <a:spLocks noGrp="1"/>
          </p:cNvSpPr>
          <p:nvPr>
            <p:ph idx="22" hasCustomPrompt="1"/>
          </p:nvPr>
        </p:nvSpPr>
        <p:spPr>
          <a:xfrm>
            <a:off x="3178691" y="5573693"/>
            <a:ext cx="1005203" cy="523500"/>
          </a:xfrm>
          <a:prstGeom prst="rect">
            <a:avLst/>
          </a:prstGeom>
          <a:noFill/>
        </p:spPr>
        <p:txBody>
          <a:bodyPr wrap="square" lIns="0" tIns="0" rIns="0" bIns="0" anchor="ctr" anchorCtr="0">
            <a:noAutofit/>
          </a:bodyPr>
          <a:lstStyle>
            <a:lvl1pPr marL="0" indent="0" algn="l" rtl="1">
              <a:buNone/>
              <a:tabLst/>
              <a:defRPr sz="3600">
                <a:ln>
                  <a:noFill/>
                </a:ln>
                <a:solidFill>
                  <a:schemeClr val="accent3"/>
                </a:solidFill>
                <a:effectLst>
                  <a:outerShdw dist="50800" dir="5400000" sx="1000" sy="1000" algn="ctr" rotWithShape="0">
                    <a:srgbClr val="000000">
                      <a:alpha val="0"/>
                    </a:srgbClr>
                  </a:outerShdw>
                </a:effectLst>
                <a:latin typeface="Georgia Pro" panose="02040502050405020303" pitchFamily="18" charset="0"/>
                <a:sym typeface="Georgia Pro" panose="02040502050405020303" pitchFamily="18" charset="0"/>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en-US"/>
              <a:t>05</a:t>
            </a:r>
          </a:p>
        </p:txBody>
      </p:sp>
      <p:sp>
        <p:nvSpPr>
          <p:cNvPr id="33" name="Content Placeholder 2">
            <a:extLst>
              <a:ext uri="{FF2B5EF4-FFF2-40B4-BE49-F238E27FC236}">
                <a16:creationId xmlns:a16="http://schemas.microsoft.com/office/drawing/2014/main" id="{B9BC78CA-79E7-CA49-8192-0AF12DEB4523}"/>
              </a:ext>
            </a:extLst>
          </p:cNvPr>
          <p:cNvSpPr>
            <a:spLocks noGrp="1"/>
          </p:cNvSpPr>
          <p:nvPr>
            <p:ph idx="26" hasCustomPrompt="1"/>
          </p:nvPr>
        </p:nvSpPr>
        <p:spPr>
          <a:xfrm>
            <a:off x="3178691" y="1277120"/>
            <a:ext cx="1005203" cy="523500"/>
          </a:xfrm>
          <a:prstGeom prst="rect">
            <a:avLst/>
          </a:prstGeom>
          <a:noFill/>
        </p:spPr>
        <p:txBody>
          <a:bodyPr wrap="square" lIns="0" tIns="0" rIns="0" bIns="0" anchor="ctr" anchorCtr="0">
            <a:noAutofit/>
          </a:bodyPr>
          <a:lstStyle>
            <a:lvl1pPr marL="0" indent="0" algn="l" rtl="1">
              <a:buNone/>
              <a:tabLst/>
              <a:defRPr sz="3600">
                <a:ln>
                  <a:noFill/>
                </a:ln>
                <a:solidFill>
                  <a:schemeClr val="accent3"/>
                </a:solidFill>
                <a:effectLst>
                  <a:outerShdw dist="50800" dir="5400000" sx="1000" sy="1000" algn="ctr" rotWithShape="0">
                    <a:srgbClr val="000000">
                      <a:alpha val="0"/>
                    </a:srgbClr>
                  </a:outerShdw>
                </a:effectLst>
                <a:latin typeface="Georgia Pro" panose="02040502050405020303" pitchFamily="18" charset="0"/>
                <a:sym typeface="Georgia Pro" panose="02040502050405020303" pitchFamily="18" charset="0"/>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en-US"/>
              <a:t>01</a:t>
            </a:r>
          </a:p>
        </p:txBody>
      </p:sp>
      <p:sp>
        <p:nvSpPr>
          <p:cNvPr id="35" name="Content Placeholder 2">
            <a:extLst>
              <a:ext uri="{FF2B5EF4-FFF2-40B4-BE49-F238E27FC236}">
                <a16:creationId xmlns:a16="http://schemas.microsoft.com/office/drawing/2014/main" id="{4CF47ED6-AD95-9649-87C4-336C521B1AA1}"/>
              </a:ext>
            </a:extLst>
          </p:cNvPr>
          <p:cNvSpPr>
            <a:spLocks noGrp="1"/>
          </p:cNvSpPr>
          <p:nvPr>
            <p:ph idx="28" hasCustomPrompt="1"/>
          </p:nvPr>
        </p:nvSpPr>
        <p:spPr>
          <a:xfrm>
            <a:off x="3178691" y="2368066"/>
            <a:ext cx="1005203" cy="523500"/>
          </a:xfrm>
          <a:prstGeom prst="rect">
            <a:avLst/>
          </a:prstGeom>
          <a:noFill/>
        </p:spPr>
        <p:txBody>
          <a:bodyPr wrap="square" lIns="0" tIns="0" rIns="0" bIns="0" anchor="ctr" anchorCtr="0">
            <a:noAutofit/>
          </a:bodyPr>
          <a:lstStyle>
            <a:lvl1pPr marL="0" indent="0" algn="l" rtl="1">
              <a:buNone/>
              <a:tabLst/>
              <a:defRPr sz="3600">
                <a:ln>
                  <a:noFill/>
                </a:ln>
                <a:solidFill>
                  <a:schemeClr val="accent3"/>
                </a:solidFill>
                <a:effectLst>
                  <a:outerShdw dist="50800" dir="5400000" sx="1000" sy="1000" algn="ctr" rotWithShape="0">
                    <a:srgbClr val="000000">
                      <a:alpha val="0"/>
                    </a:srgbClr>
                  </a:outerShdw>
                </a:effectLst>
                <a:latin typeface="Georgia Pro" panose="02040502050405020303" pitchFamily="18" charset="0"/>
                <a:sym typeface="Georgia Pro" panose="02040502050405020303" pitchFamily="18" charset="0"/>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en-US"/>
              <a:t>02</a:t>
            </a:r>
          </a:p>
        </p:txBody>
      </p:sp>
      <p:sp>
        <p:nvSpPr>
          <p:cNvPr id="37" name="Content Placeholder 2">
            <a:extLst>
              <a:ext uri="{FF2B5EF4-FFF2-40B4-BE49-F238E27FC236}">
                <a16:creationId xmlns:a16="http://schemas.microsoft.com/office/drawing/2014/main" id="{87856791-D808-5F49-96AE-FC25C61E5F34}"/>
              </a:ext>
            </a:extLst>
          </p:cNvPr>
          <p:cNvSpPr>
            <a:spLocks noGrp="1"/>
          </p:cNvSpPr>
          <p:nvPr>
            <p:ph idx="30" hasCustomPrompt="1"/>
          </p:nvPr>
        </p:nvSpPr>
        <p:spPr>
          <a:xfrm>
            <a:off x="3178691" y="3447855"/>
            <a:ext cx="1005203" cy="523500"/>
          </a:xfrm>
          <a:prstGeom prst="rect">
            <a:avLst/>
          </a:prstGeom>
          <a:noFill/>
        </p:spPr>
        <p:txBody>
          <a:bodyPr wrap="square" lIns="0" tIns="0" rIns="0" bIns="0" anchor="ctr" anchorCtr="0">
            <a:noAutofit/>
          </a:bodyPr>
          <a:lstStyle>
            <a:lvl1pPr marL="0" indent="0" algn="l" rtl="1">
              <a:buNone/>
              <a:tabLst/>
              <a:defRPr sz="3600">
                <a:ln>
                  <a:noFill/>
                </a:ln>
                <a:solidFill>
                  <a:schemeClr val="accent3"/>
                </a:solidFill>
                <a:effectLst>
                  <a:outerShdw dist="50800" dir="5400000" sx="1000" sy="1000" algn="ctr" rotWithShape="0">
                    <a:srgbClr val="000000">
                      <a:alpha val="0"/>
                    </a:srgbClr>
                  </a:outerShdw>
                </a:effectLst>
                <a:latin typeface="Georgia Pro" panose="02040502050405020303" pitchFamily="18" charset="0"/>
                <a:sym typeface="Georgia Pro" panose="02040502050405020303" pitchFamily="18" charset="0"/>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en-US"/>
              <a:t>03</a:t>
            </a:r>
          </a:p>
        </p:txBody>
      </p:sp>
      <p:sp>
        <p:nvSpPr>
          <p:cNvPr id="17" name="Content Placeholder 2">
            <a:extLst>
              <a:ext uri="{FF2B5EF4-FFF2-40B4-BE49-F238E27FC236}">
                <a16:creationId xmlns:a16="http://schemas.microsoft.com/office/drawing/2014/main" id="{F2E4EE08-2D62-3240-BF8C-336B397A7E55}"/>
              </a:ext>
            </a:extLst>
          </p:cNvPr>
          <p:cNvSpPr>
            <a:spLocks noGrp="1"/>
          </p:cNvSpPr>
          <p:nvPr>
            <p:ph idx="31" hasCustomPrompt="1"/>
          </p:nvPr>
        </p:nvSpPr>
        <p:spPr>
          <a:xfrm>
            <a:off x="4380134" y="2352058"/>
            <a:ext cx="6674034" cy="769370"/>
          </a:xfrm>
          <a:prstGeom prst="rect">
            <a:avLst/>
          </a:prstGeom>
        </p:spPr>
        <p:txBody>
          <a:bodyPr wrap="square" lIns="0" tIns="0" rIns="0" bIns="0" anchor="ctr" anchorCtr="0">
            <a:noAutofit/>
          </a:bodyPr>
          <a:lstStyle>
            <a:lvl1pPr marL="0" indent="0" algn="l" rtl="1">
              <a:buNone/>
              <a:tabLst/>
              <a:defRPr lang="en-US" sz="2400" b="0" i="0" kern="1200" dirty="0">
                <a:solidFill>
                  <a:schemeClr val="accent1">
                    <a:lumMod val="50000"/>
                  </a:schemeClr>
                </a:solidFill>
                <a:latin typeface="Georgia Pro" panose="02040502050405020303" pitchFamily="18" charset="0"/>
                <a:ea typeface="+mn-ea"/>
                <a:cs typeface="+mj-cs"/>
                <a:sym typeface="Georgia Pro" panose="02040502050405020303" pitchFamily="18" charset="0"/>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l" rtl="1">
              <a:buNone/>
              <a:tabLst/>
              <a:defRPr b="1">
                <a:solidFill>
                  <a:schemeClr val="accent1">
                    <a:lumMod val="50000"/>
                  </a:schemeClr>
                </a:solidFill>
                <a:latin typeface="Georgia Pro" panose="02040502050405020303" pitchFamily="18" charset="0"/>
                <a:sym typeface="Georgia Pro" panose="02040502050405020303" pitchFamily="18" charset="0"/>
              </a:defRPr>
            </a:lvl3pPr>
            <a:lvl4pPr marL="1371600" indent="0">
              <a:buNone/>
              <a:defRPr/>
            </a:lvl4pPr>
            <a:lvl5pPr marL="1828800" indent="0">
              <a:buNone/>
              <a:defRPr/>
            </a:lvl5pPr>
          </a:lstStyle>
          <a:p>
            <a:r>
              <a:rPr lang="en"/>
              <a:t>Subtitle</a:t>
            </a:r>
            <a:r>
              <a:rPr lang="ar-SA"/>
              <a:t> ،</a:t>
            </a:r>
            <a:r>
              <a:rPr lang="en-US" err="1"/>
              <a:t>sakkal</a:t>
            </a:r>
            <a:r>
              <a:rPr lang="en-US"/>
              <a:t> </a:t>
            </a:r>
            <a:r>
              <a:rPr lang="en-US" err="1"/>
              <a:t>majalla</a:t>
            </a:r>
            <a:r>
              <a:rPr lang="en-US"/>
              <a:t> 32 </a:t>
            </a:r>
            <a:r>
              <a:rPr lang="en-US" err="1"/>
              <a:t>pt</a:t>
            </a:r>
            <a:endParaRPr lang="en-US"/>
          </a:p>
          <a:p>
            <a:pPr lvl="2"/>
            <a:r>
              <a:rPr lang="en-US"/>
              <a:t>Subtitle , </a:t>
            </a:r>
            <a:r>
              <a:rPr lang="en-US" err="1"/>
              <a:t>sakkal</a:t>
            </a:r>
            <a:r>
              <a:rPr lang="en-US"/>
              <a:t> </a:t>
            </a:r>
            <a:r>
              <a:rPr lang="en-US" err="1"/>
              <a:t>majalla</a:t>
            </a:r>
            <a:r>
              <a:rPr lang="en-US"/>
              <a:t> 28 </a:t>
            </a:r>
            <a:r>
              <a:rPr lang="en-US" err="1"/>
              <a:t>pt</a:t>
            </a:r>
            <a:endParaRPr lang="en-US"/>
          </a:p>
        </p:txBody>
      </p:sp>
      <p:sp>
        <p:nvSpPr>
          <p:cNvPr id="18" name="Content Placeholder 2">
            <a:extLst>
              <a:ext uri="{FF2B5EF4-FFF2-40B4-BE49-F238E27FC236}">
                <a16:creationId xmlns:a16="http://schemas.microsoft.com/office/drawing/2014/main" id="{21A57E7D-6107-D844-8F56-2848F5FA933E}"/>
              </a:ext>
            </a:extLst>
          </p:cNvPr>
          <p:cNvSpPr>
            <a:spLocks noGrp="1"/>
          </p:cNvSpPr>
          <p:nvPr>
            <p:ph idx="32" hasCustomPrompt="1"/>
          </p:nvPr>
        </p:nvSpPr>
        <p:spPr>
          <a:xfrm>
            <a:off x="4380134" y="3417051"/>
            <a:ext cx="6674034" cy="769370"/>
          </a:xfrm>
          <a:prstGeom prst="rect">
            <a:avLst/>
          </a:prstGeom>
        </p:spPr>
        <p:txBody>
          <a:bodyPr wrap="square" lIns="0" tIns="0" rIns="0" bIns="0" anchor="ctr" anchorCtr="0">
            <a:noAutofit/>
          </a:bodyPr>
          <a:lstStyle>
            <a:lvl1pPr marL="0" indent="0" algn="l" rtl="1">
              <a:buNone/>
              <a:tabLst/>
              <a:defRPr lang="en-US" sz="2400" b="0" i="0" kern="1200" dirty="0">
                <a:solidFill>
                  <a:schemeClr val="accent1">
                    <a:lumMod val="50000"/>
                  </a:schemeClr>
                </a:solidFill>
                <a:latin typeface="Georgia Pro" panose="02040502050405020303" pitchFamily="18" charset="0"/>
                <a:ea typeface="+mn-ea"/>
                <a:cs typeface="+mj-cs"/>
                <a:sym typeface="Georgia Pro" panose="02040502050405020303" pitchFamily="18" charset="0"/>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l" rtl="1">
              <a:buNone/>
              <a:tabLst/>
              <a:defRPr b="1">
                <a:solidFill>
                  <a:schemeClr val="accent1">
                    <a:lumMod val="50000"/>
                  </a:schemeClr>
                </a:solidFill>
                <a:latin typeface="Georgia Pro" panose="02040502050405020303" pitchFamily="18" charset="0"/>
                <a:sym typeface="Georgia Pro" panose="02040502050405020303" pitchFamily="18" charset="0"/>
              </a:defRPr>
            </a:lvl3pPr>
            <a:lvl4pPr marL="1371600" indent="0">
              <a:buNone/>
              <a:defRPr/>
            </a:lvl4pPr>
            <a:lvl5pPr marL="1828800" indent="0">
              <a:buNone/>
              <a:defRPr/>
            </a:lvl5pPr>
          </a:lstStyle>
          <a:p>
            <a:r>
              <a:rPr lang="en"/>
              <a:t>Subtitle</a:t>
            </a:r>
            <a:r>
              <a:rPr lang="ar-SA"/>
              <a:t> ،</a:t>
            </a:r>
            <a:r>
              <a:rPr lang="en-US" err="1"/>
              <a:t>sakkal</a:t>
            </a:r>
            <a:r>
              <a:rPr lang="en-US"/>
              <a:t> </a:t>
            </a:r>
            <a:r>
              <a:rPr lang="en-US" err="1"/>
              <a:t>majalla</a:t>
            </a:r>
            <a:r>
              <a:rPr lang="en-US"/>
              <a:t> 32 </a:t>
            </a:r>
            <a:r>
              <a:rPr lang="en-US" err="1"/>
              <a:t>pt</a:t>
            </a:r>
            <a:endParaRPr lang="en-US"/>
          </a:p>
          <a:p>
            <a:pPr lvl="2"/>
            <a:r>
              <a:rPr lang="en-US"/>
              <a:t>Subtitle , </a:t>
            </a:r>
            <a:r>
              <a:rPr lang="en-US" err="1"/>
              <a:t>sakkal</a:t>
            </a:r>
            <a:r>
              <a:rPr lang="en-US"/>
              <a:t> </a:t>
            </a:r>
            <a:r>
              <a:rPr lang="en-US" err="1"/>
              <a:t>majalla</a:t>
            </a:r>
            <a:r>
              <a:rPr lang="en-US"/>
              <a:t> 28 </a:t>
            </a:r>
            <a:r>
              <a:rPr lang="en-US" err="1"/>
              <a:t>pt</a:t>
            </a:r>
            <a:endParaRPr lang="en-US"/>
          </a:p>
        </p:txBody>
      </p:sp>
      <p:sp>
        <p:nvSpPr>
          <p:cNvPr id="22" name="Content Placeholder 2">
            <a:extLst>
              <a:ext uri="{FF2B5EF4-FFF2-40B4-BE49-F238E27FC236}">
                <a16:creationId xmlns:a16="http://schemas.microsoft.com/office/drawing/2014/main" id="{72D154D9-0752-9249-975A-BA2FD8D646F0}"/>
              </a:ext>
            </a:extLst>
          </p:cNvPr>
          <p:cNvSpPr>
            <a:spLocks noGrp="1"/>
          </p:cNvSpPr>
          <p:nvPr>
            <p:ph idx="33" hasCustomPrompt="1"/>
          </p:nvPr>
        </p:nvSpPr>
        <p:spPr>
          <a:xfrm>
            <a:off x="4379088" y="4468628"/>
            <a:ext cx="6665142" cy="769370"/>
          </a:xfrm>
          <a:prstGeom prst="rect">
            <a:avLst/>
          </a:prstGeom>
        </p:spPr>
        <p:txBody>
          <a:bodyPr wrap="square" lIns="0" tIns="0" rIns="0" bIns="0" anchor="ctr" anchorCtr="0">
            <a:noAutofit/>
          </a:bodyPr>
          <a:lstStyle>
            <a:lvl1pPr marL="0" indent="0" algn="l" rtl="1">
              <a:buNone/>
              <a:tabLst/>
              <a:defRPr lang="en-US" sz="2400" b="0" i="0" kern="1200" dirty="0">
                <a:solidFill>
                  <a:schemeClr val="accent1">
                    <a:lumMod val="50000"/>
                  </a:schemeClr>
                </a:solidFill>
                <a:latin typeface="Georgia Pro" panose="02040502050405020303" pitchFamily="18" charset="0"/>
                <a:ea typeface="+mn-ea"/>
                <a:cs typeface="+mj-cs"/>
                <a:sym typeface="Georgia Pro" panose="02040502050405020303" pitchFamily="18" charset="0"/>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l" rtl="1">
              <a:buNone/>
              <a:tabLst/>
              <a:defRPr b="1">
                <a:solidFill>
                  <a:schemeClr val="accent1">
                    <a:lumMod val="50000"/>
                  </a:schemeClr>
                </a:solidFill>
                <a:latin typeface="Georgia Pro" panose="02040502050405020303" pitchFamily="18" charset="0"/>
                <a:sym typeface="Georgia Pro" panose="02040502050405020303" pitchFamily="18" charset="0"/>
              </a:defRPr>
            </a:lvl3pPr>
            <a:lvl4pPr marL="1371600" indent="0">
              <a:buNone/>
              <a:defRPr/>
            </a:lvl4pPr>
            <a:lvl5pPr marL="1828800" indent="0">
              <a:buNone/>
              <a:defRPr/>
            </a:lvl5pPr>
          </a:lstStyle>
          <a:p>
            <a:r>
              <a:rPr lang="en"/>
              <a:t>Subtitle</a:t>
            </a:r>
            <a:r>
              <a:rPr lang="ar-SA"/>
              <a:t> ،</a:t>
            </a:r>
            <a:r>
              <a:rPr lang="en-US" err="1"/>
              <a:t>sakkal</a:t>
            </a:r>
            <a:r>
              <a:rPr lang="en-US"/>
              <a:t> </a:t>
            </a:r>
            <a:r>
              <a:rPr lang="en-US" err="1"/>
              <a:t>majalla</a:t>
            </a:r>
            <a:r>
              <a:rPr lang="en-US"/>
              <a:t> 32 </a:t>
            </a:r>
            <a:r>
              <a:rPr lang="en-US" err="1"/>
              <a:t>pt</a:t>
            </a:r>
            <a:endParaRPr lang="en-US"/>
          </a:p>
          <a:p>
            <a:pPr lvl="2"/>
            <a:r>
              <a:rPr lang="en-US"/>
              <a:t>Subtitle , </a:t>
            </a:r>
            <a:r>
              <a:rPr lang="en-US" err="1"/>
              <a:t>sakkal</a:t>
            </a:r>
            <a:r>
              <a:rPr lang="en-US"/>
              <a:t> </a:t>
            </a:r>
            <a:r>
              <a:rPr lang="en-US" err="1"/>
              <a:t>majalla</a:t>
            </a:r>
            <a:r>
              <a:rPr lang="en-US"/>
              <a:t> 28 </a:t>
            </a:r>
            <a:r>
              <a:rPr lang="en-US" err="1"/>
              <a:t>pt</a:t>
            </a:r>
            <a:endParaRPr lang="en-US"/>
          </a:p>
        </p:txBody>
      </p:sp>
      <p:sp>
        <p:nvSpPr>
          <p:cNvPr id="23" name="Content Placeholder 2">
            <a:extLst>
              <a:ext uri="{FF2B5EF4-FFF2-40B4-BE49-F238E27FC236}">
                <a16:creationId xmlns:a16="http://schemas.microsoft.com/office/drawing/2014/main" id="{73098609-9F5B-AB41-8EEA-4E7DDB6C4052}"/>
              </a:ext>
            </a:extLst>
          </p:cNvPr>
          <p:cNvSpPr>
            <a:spLocks noGrp="1"/>
          </p:cNvSpPr>
          <p:nvPr>
            <p:ph idx="34" hasCustomPrompt="1"/>
          </p:nvPr>
        </p:nvSpPr>
        <p:spPr>
          <a:xfrm>
            <a:off x="4379088" y="5533621"/>
            <a:ext cx="6665142" cy="769370"/>
          </a:xfrm>
          <a:prstGeom prst="rect">
            <a:avLst/>
          </a:prstGeom>
        </p:spPr>
        <p:txBody>
          <a:bodyPr wrap="square" lIns="0" tIns="0" rIns="0" bIns="0" anchor="ctr" anchorCtr="0">
            <a:noAutofit/>
          </a:bodyPr>
          <a:lstStyle>
            <a:lvl1pPr marL="0" indent="0" algn="l" rtl="1">
              <a:buNone/>
              <a:tabLst/>
              <a:defRPr lang="en-US" sz="2400" b="0" i="0" kern="1200" dirty="0">
                <a:solidFill>
                  <a:schemeClr val="accent1">
                    <a:lumMod val="50000"/>
                  </a:schemeClr>
                </a:solidFill>
                <a:latin typeface="Georgia Pro" panose="02040502050405020303" pitchFamily="18" charset="0"/>
                <a:ea typeface="+mn-ea"/>
                <a:cs typeface="+mj-cs"/>
                <a:sym typeface="Georgia Pro" panose="02040502050405020303" pitchFamily="18" charset="0"/>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l" rtl="1">
              <a:buNone/>
              <a:tabLst/>
              <a:defRPr b="1">
                <a:solidFill>
                  <a:schemeClr val="accent1">
                    <a:lumMod val="50000"/>
                  </a:schemeClr>
                </a:solidFill>
                <a:latin typeface="Georgia Pro" panose="02040502050405020303" pitchFamily="18" charset="0"/>
                <a:sym typeface="Georgia Pro" panose="02040502050405020303" pitchFamily="18" charset="0"/>
              </a:defRPr>
            </a:lvl3pPr>
            <a:lvl4pPr marL="1371600" indent="0">
              <a:buNone/>
              <a:defRPr/>
            </a:lvl4pPr>
            <a:lvl5pPr marL="1828800" indent="0">
              <a:buNone/>
              <a:defRPr/>
            </a:lvl5pPr>
          </a:lstStyle>
          <a:p>
            <a:r>
              <a:rPr lang="en"/>
              <a:t>Subtitle</a:t>
            </a:r>
            <a:r>
              <a:rPr lang="ar-SA"/>
              <a:t> ،</a:t>
            </a:r>
            <a:r>
              <a:rPr lang="en-US" err="1"/>
              <a:t>sakkal</a:t>
            </a:r>
            <a:r>
              <a:rPr lang="en-US"/>
              <a:t> </a:t>
            </a:r>
            <a:r>
              <a:rPr lang="en-US" err="1"/>
              <a:t>majalla</a:t>
            </a:r>
            <a:r>
              <a:rPr lang="en-US"/>
              <a:t> 32 </a:t>
            </a:r>
            <a:r>
              <a:rPr lang="en-US" err="1"/>
              <a:t>pt</a:t>
            </a:r>
            <a:endParaRPr lang="en-US"/>
          </a:p>
          <a:p>
            <a:pPr lvl="2"/>
            <a:r>
              <a:rPr lang="en-US"/>
              <a:t>Subtitle , </a:t>
            </a:r>
            <a:r>
              <a:rPr lang="en-US" err="1"/>
              <a:t>sakkal</a:t>
            </a:r>
            <a:r>
              <a:rPr lang="en-US"/>
              <a:t> </a:t>
            </a:r>
            <a:r>
              <a:rPr lang="en-US" err="1"/>
              <a:t>maajalla</a:t>
            </a:r>
            <a:r>
              <a:rPr lang="en-US"/>
              <a:t> 28pt</a:t>
            </a:r>
          </a:p>
        </p:txBody>
      </p:sp>
      <p:sp>
        <p:nvSpPr>
          <p:cNvPr id="3" name="Title 2">
            <a:extLst>
              <a:ext uri="{FF2B5EF4-FFF2-40B4-BE49-F238E27FC236}">
                <a16:creationId xmlns:a16="http://schemas.microsoft.com/office/drawing/2014/main" id="{61E16F65-C05C-4F29-9401-656F07C502F6}"/>
              </a:ext>
            </a:extLst>
          </p:cNvPr>
          <p:cNvSpPr>
            <a:spLocks noGrp="1"/>
          </p:cNvSpPr>
          <p:nvPr>
            <p:ph type="title" hasCustomPrompt="1"/>
          </p:nvPr>
        </p:nvSpPr>
        <p:spPr>
          <a:xfrm>
            <a:off x="471961" y="754956"/>
            <a:ext cx="1725899" cy="759071"/>
          </a:xfrm>
          <a:prstGeom prst="rect">
            <a:avLst/>
          </a:prstGeom>
          <a:noFill/>
        </p:spPr>
        <p:txBody>
          <a:bodyPr vert="horz" wrap="square" lIns="91440" tIns="45720" rIns="91440" bIns="45720" anchor="t" anchorCtr="0">
            <a:noAutofit/>
          </a:bodyPr>
          <a:lstStyle>
            <a:lvl1pPr marL="0" indent="0" algn="ctr">
              <a:lnSpc>
                <a:spcPct val="100000"/>
              </a:lnSpc>
              <a:spcBef>
                <a:spcPts val="0"/>
              </a:spcBef>
              <a:spcAft>
                <a:spcPts val="0"/>
              </a:spcAft>
              <a:defRPr sz="4800" b="1" i="0" u="none" kern="1200" spc="0">
                <a:solidFill>
                  <a:schemeClr val="lt1"/>
                </a:solidFill>
                <a:latin typeface="Georgia Pro" panose="02040502050405020303" pitchFamily="18" charset="0"/>
                <a:sym typeface="Georgia Pro" panose="02040502050405020303" pitchFamily="18" charset="0"/>
              </a:defRPr>
            </a:lvl1pPr>
          </a:lstStyle>
          <a:p>
            <a:pPr lvl="0"/>
            <a:r>
              <a:rPr lang="en-US"/>
              <a:t>Agenda</a:t>
            </a:r>
          </a:p>
        </p:txBody>
      </p:sp>
    </p:spTree>
    <p:extLst>
      <p:ext uri="{BB962C8B-B14F-4D97-AF65-F5344CB8AC3E}">
        <p14:creationId xmlns:p14="http://schemas.microsoft.com/office/powerpoint/2010/main" val="52292535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7BABF-027A-4830-A0D9-302ACB2CEEB3}"/>
              </a:ext>
            </a:extLst>
          </p:cNvPr>
          <p:cNvGraphicFramePr>
            <a:graphicFrameLocks noChangeAspect="1"/>
          </p:cNvGraphicFramePr>
          <p:nvPr userDrawn="1">
            <p:custDataLst>
              <p:tags r:id="rId1"/>
            </p:custDataLst>
            <p:extLst>
              <p:ext uri="{D42A27DB-BD31-4B8C-83A1-F6EECF244321}">
                <p14:modId xmlns:p14="http://schemas.microsoft.com/office/powerpoint/2010/main" val="50105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3" name="Object 2" hidden="1">
                        <a:extLst>
                          <a:ext uri="{FF2B5EF4-FFF2-40B4-BE49-F238E27FC236}">
                            <a16:creationId xmlns:a16="http://schemas.microsoft.com/office/drawing/2014/main" id="{A9A7BABF-027A-4830-A0D9-302ACB2CEE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62CBF79-5CDE-49F7-989C-12645568491B}"/>
              </a:ext>
            </a:extLst>
          </p:cNvPr>
          <p:cNvSpPr/>
          <p:nvPr userDrawn="1"/>
        </p:nvSpPr>
        <p:spPr>
          <a:xfrm>
            <a:off x="0" y="-1"/>
            <a:ext cx="12193200" cy="6858000"/>
          </a:xfrm>
          <a:prstGeom prst="rect">
            <a:avLst/>
          </a:prstGeom>
          <a:solidFill>
            <a:srgbClr val="14430F"/>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ro" panose="02040502050405020303" pitchFamily="18" charset="0"/>
              <a:ea typeface="+mn-ea"/>
              <a:cs typeface="Sakkal Majalla"/>
              <a:sym typeface="Georgia Pro" panose="02040502050405020303" pitchFamily="18" charset="0"/>
            </a:endParaRPr>
          </a:p>
        </p:txBody>
      </p:sp>
      <p:sp>
        <p:nvSpPr>
          <p:cNvPr id="5" name="Title 12">
            <a:extLst>
              <a:ext uri="{FF2B5EF4-FFF2-40B4-BE49-F238E27FC236}">
                <a16:creationId xmlns:a16="http://schemas.microsoft.com/office/drawing/2014/main" id="{A2E52EBB-3144-4007-97A4-DFDB34DE2749}"/>
              </a:ext>
            </a:extLst>
          </p:cNvPr>
          <p:cNvSpPr txBox="1">
            <a:spLocks/>
          </p:cNvSpPr>
          <p:nvPr userDrawn="1"/>
        </p:nvSpPr>
        <p:spPr>
          <a:xfrm>
            <a:off x="757110" y="1"/>
            <a:ext cx="9968556" cy="1258894"/>
          </a:xfrm>
          <a:prstGeom prst="rect">
            <a:avLst/>
          </a:prstGeom>
        </p:spPr>
        <p:txBody>
          <a:bodyPr vert="horz" wrap="square" lIns="0" tIns="0" rIns="0" bIns="0" rtlCol="0" anchor="ctr">
            <a:noAutofit/>
          </a:bodyPr>
          <a:lstStyle>
            <a:lvl1pPr algn="r" defTabSz="914400" rtl="1"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Georgia Pro" panose="02040502050405020303" pitchFamily="18" charset="0"/>
              <a:ea typeface="+mj-ea"/>
              <a:cs typeface="Sakkal Majalla"/>
              <a:sym typeface="Georgia Pro" panose="02040502050405020303" pitchFamily="18" charset="0"/>
            </a:endParaRPr>
          </a:p>
        </p:txBody>
      </p:sp>
      <p:sp>
        <p:nvSpPr>
          <p:cNvPr id="10" name="Title 2">
            <a:extLst>
              <a:ext uri="{FF2B5EF4-FFF2-40B4-BE49-F238E27FC236}">
                <a16:creationId xmlns:a16="http://schemas.microsoft.com/office/drawing/2014/main" id="{E359C8D1-645E-E247-BF99-9550543DE20D}"/>
              </a:ext>
            </a:extLst>
          </p:cNvPr>
          <p:cNvSpPr>
            <a:spLocks noGrp="1"/>
          </p:cNvSpPr>
          <p:nvPr>
            <p:ph type="title" hasCustomPrompt="1"/>
          </p:nvPr>
        </p:nvSpPr>
        <p:spPr>
          <a:xfrm>
            <a:off x="854663" y="3239555"/>
            <a:ext cx="4474015" cy="643050"/>
          </a:xfrm>
          <a:prstGeom prst="rect">
            <a:avLst/>
          </a:prstGeom>
        </p:spPr>
        <p:txBody>
          <a:bodyPr vert="horz">
            <a:noAutofit/>
          </a:bodyPr>
          <a:lstStyle>
            <a:lvl1pPr algn="l" rtl="0">
              <a:defRPr sz="3200" b="1">
                <a:solidFill>
                  <a:schemeClr val="bg1"/>
                </a:solidFill>
                <a:latin typeface="Georgia Pro" panose="02040502050405020303" pitchFamily="18" charset="0"/>
                <a:cs typeface="Sakkal Majalla" panose="02000000000000000000" pitchFamily="2" charset="-78"/>
                <a:sym typeface="Georgia Pro" panose="02040502050405020303" pitchFamily="18" charset="0"/>
              </a:defRPr>
            </a:lvl1pPr>
          </a:lstStyle>
          <a:p>
            <a:r>
              <a:rPr lang="en-US"/>
              <a:t>Main Divider</a:t>
            </a:r>
            <a:endParaRPr lang="en-SA"/>
          </a:p>
        </p:txBody>
      </p:sp>
      <p:pic>
        <p:nvPicPr>
          <p:cNvPr id="14" name="Picture 13">
            <a:extLst>
              <a:ext uri="{FF2B5EF4-FFF2-40B4-BE49-F238E27FC236}">
                <a16:creationId xmlns:a16="http://schemas.microsoft.com/office/drawing/2014/main" id="{6ED435CC-ABEE-4DA6-B7D5-DBA416865BB8}"/>
              </a:ext>
            </a:extLst>
          </p:cNvPr>
          <p:cNvPicPr>
            <a:picLocks noChangeAspect="1"/>
          </p:cNvPicPr>
          <p:nvPr userDrawn="1"/>
        </p:nvPicPr>
        <p:blipFill rotWithShape="1">
          <a:blip r:embed="rId5"/>
          <a:srcRect l="50000"/>
          <a:stretch/>
        </p:blipFill>
        <p:spPr>
          <a:xfrm flipH="1">
            <a:off x="9900247" y="1136650"/>
            <a:ext cx="2291753" cy="4584700"/>
          </a:xfrm>
          <a:prstGeom prst="rect">
            <a:avLst/>
          </a:prstGeom>
        </p:spPr>
      </p:pic>
      <p:cxnSp>
        <p:nvCxnSpPr>
          <p:cNvPr id="7" name="Straight Connector 6">
            <a:extLst>
              <a:ext uri="{FF2B5EF4-FFF2-40B4-BE49-F238E27FC236}">
                <a16:creationId xmlns:a16="http://schemas.microsoft.com/office/drawing/2014/main" id="{895E7BAF-3467-4546-BE8A-2ED82756F145}"/>
              </a:ext>
            </a:extLst>
          </p:cNvPr>
          <p:cNvCxnSpPr/>
          <p:nvPr userDrawn="1"/>
        </p:nvCxnSpPr>
        <p:spPr>
          <a:xfrm>
            <a:off x="11676063" y="6545987"/>
            <a:ext cx="0" cy="2502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162E6E1-2689-42FB-9A28-587DD24C5C87}"/>
              </a:ext>
            </a:extLst>
          </p:cNvPr>
          <p:cNvSpPr txBox="1"/>
          <p:nvPr userDrawn="1"/>
        </p:nvSpPr>
        <p:spPr>
          <a:xfrm>
            <a:off x="11729212" y="6631208"/>
            <a:ext cx="265176"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1200" b="0" smtClean="0">
                <a:solidFill>
                  <a:schemeClr val="bg1"/>
                </a:solidFill>
                <a:latin typeface="Georgia Pro" panose="02040502050405020303" pitchFamily="18" charset="0"/>
                <a:cs typeface="Sakkal Majalla" panose="02000000000000000000" pitchFamily="2" charset="-78"/>
                <a:sym typeface="Georgia Pro" panose="02040502050405020303" pitchFamily="18" charset="0"/>
              </a:rPr>
              <a:pPr algn="r"/>
              <a:t>‹#›</a:t>
            </a:fld>
            <a:endParaRPr lang="en-US" sz="900" b="0" dirty="0">
              <a:solidFill>
                <a:schemeClr val="bg1"/>
              </a:solidFill>
              <a:latin typeface="Georgia Pro" panose="02040502050405020303" pitchFamily="18" charset="0"/>
              <a:cs typeface="Sakkal Majalla" panose="02000000000000000000" pitchFamily="2" charset="-78"/>
              <a:sym typeface="Georgia Pro" panose="02040502050405020303" pitchFamily="18" charset="0"/>
            </a:endParaRPr>
          </a:p>
        </p:txBody>
      </p:sp>
    </p:spTree>
    <p:extLst>
      <p:ext uri="{BB962C8B-B14F-4D97-AF65-F5344CB8AC3E}">
        <p14:creationId xmlns:p14="http://schemas.microsoft.com/office/powerpoint/2010/main" val="791955133"/>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 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271A9A-A6AA-496D-9266-2F2E17616D7F}"/>
              </a:ext>
            </a:extLst>
          </p:cNvPr>
          <p:cNvGraphicFramePr>
            <a:graphicFrameLocks noChangeAspect="1"/>
          </p:cNvGraphicFramePr>
          <p:nvPr userDrawn="1">
            <p:custDataLst>
              <p:tags r:id="rId1"/>
            </p:custDataLst>
            <p:extLst>
              <p:ext uri="{D42A27DB-BD31-4B8C-83A1-F6EECF244321}">
                <p14:modId xmlns:p14="http://schemas.microsoft.com/office/powerpoint/2010/main" val="126630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2" name="Object 1" hidden="1">
                        <a:extLst>
                          <a:ext uri="{FF2B5EF4-FFF2-40B4-BE49-F238E27FC236}">
                            <a16:creationId xmlns:a16="http://schemas.microsoft.com/office/drawing/2014/main" id="{6A271A9A-A6AA-496D-9266-2F2E17616D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62CBF79-5CDE-49F7-989C-12645568491B}"/>
              </a:ext>
            </a:extLst>
          </p:cNvPr>
          <p:cNvSpPr/>
          <p:nvPr userDrawn="1"/>
        </p:nvSpPr>
        <p:spPr>
          <a:xfrm>
            <a:off x="0" y="-1"/>
            <a:ext cx="12193200" cy="6858000"/>
          </a:xfrm>
          <a:prstGeom prst="rect">
            <a:avLst/>
          </a:prstGeom>
          <a:solidFill>
            <a:schemeClr val="accent2"/>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ro" panose="02040502050405020303" pitchFamily="18" charset="0"/>
              <a:ea typeface="+mn-ea"/>
              <a:cs typeface="Sakkal Majalla"/>
              <a:sym typeface="Georgia Pro" panose="02040502050405020303" pitchFamily="18" charset="0"/>
            </a:endParaRPr>
          </a:p>
        </p:txBody>
      </p:sp>
      <p:sp>
        <p:nvSpPr>
          <p:cNvPr id="5" name="Title 12">
            <a:extLst>
              <a:ext uri="{FF2B5EF4-FFF2-40B4-BE49-F238E27FC236}">
                <a16:creationId xmlns:a16="http://schemas.microsoft.com/office/drawing/2014/main" id="{A2E52EBB-3144-4007-97A4-DFDB34DE2749}"/>
              </a:ext>
            </a:extLst>
          </p:cNvPr>
          <p:cNvSpPr txBox="1">
            <a:spLocks/>
          </p:cNvSpPr>
          <p:nvPr userDrawn="1"/>
        </p:nvSpPr>
        <p:spPr>
          <a:xfrm>
            <a:off x="757110" y="1"/>
            <a:ext cx="9968556" cy="1258894"/>
          </a:xfrm>
          <a:prstGeom prst="rect">
            <a:avLst/>
          </a:prstGeom>
        </p:spPr>
        <p:txBody>
          <a:bodyPr vert="horz" wrap="square" lIns="0" tIns="0" rIns="0" bIns="0" rtlCol="0" anchor="ctr">
            <a:noAutofit/>
          </a:bodyPr>
          <a:lstStyle>
            <a:lvl1pPr algn="r" defTabSz="914400" rtl="1"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Georgia Pro" panose="02040502050405020303" pitchFamily="18" charset="0"/>
              <a:ea typeface="+mj-ea"/>
              <a:cs typeface="Sakkal Majalla"/>
              <a:sym typeface="Georgia Pro" panose="02040502050405020303" pitchFamily="18" charset="0"/>
            </a:endParaRPr>
          </a:p>
        </p:txBody>
      </p:sp>
      <p:sp>
        <p:nvSpPr>
          <p:cNvPr id="8" name="Title 2">
            <a:extLst>
              <a:ext uri="{FF2B5EF4-FFF2-40B4-BE49-F238E27FC236}">
                <a16:creationId xmlns:a16="http://schemas.microsoft.com/office/drawing/2014/main" id="{C24C0908-C950-476D-B978-9BF340A43D21}"/>
              </a:ext>
            </a:extLst>
          </p:cNvPr>
          <p:cNvSpPr>
            <a:spLocks noGrp="1"/>
          </p:cNvSpPr>
          <p:nvPr>
            <p:ph type="title" hasCustomPrompt="1"/>
          </p:nvPr>
        </p:nvSpPr>
        <p:spPr>
          <a:xfrm>
            <a:off x="854663" y="3239555"/>
            <a:ext cx="4474015" cy="643050"/>
          </a:xfrm>
          <a:prstGeom prst="rect">
            <a:avLst/>
          </a:prstGeom>
        </p:spPr>
        <p:txBody>
          <a:bodyPr vert="horz">
            <a:noAutofit/>
          </a:bodyPr>
          <a:lstStyle>
            <a:lvl1pPr algn="l" rtl="0">
              <a:defRPr sz="3200" b="1">
                <a:solidFill>
                  <a:schemeClr val="bg1"/>
                </a:solidFill>
                <a:latin typeface="Georgia Pro" panose="02040502050405020303" pitchFamily="18" charset="0"/>
                <a:cs typeface="Sakkal Majalla" panose="02000000000000000000" pitchFamily="2" charset="-78"/>
                <a:sym typeface="Georgia Pro" panose="02040502050405020303" pitchFamily="18" charset="0"/>
              </a:defRPr>
            </a:lvl1pPr>
          </a:lstStyle>
          <a:p>
            <a:r>
              <a:rPr lang="en-US"/>
              <a:t>Sub-Divider</a:t>
            </a:r>
            <a:endParaRPr lang="en-SA"/>
          </a:p>
        </p:txBody>
      </p:sp>
      <p:pic>
        <p:nvPicPr>
          <p:cNvPr id="9" name="Picture 8">
            <a:extLst>
              <a:ext uri="{FF2B5EF4-FFF2-40B4-BE49-F238E27FC236}">
                <a16:creationId xmlns:a16="http://schemas.microsoft.com/office/drawing/2014/main" id="{DE18E5DA-B69B-488D-9329-A4CF76EC4DA7}"/>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Lst>
          </a:blip>
          <a:srcRect l="50000"/>
          <a:stretch/>
        </p:blipFill>
        <p:spPr>
          <a:xfrm flipH="1">
            <a:off x="9900247" y="1136650"/>
            <a:ext cx="2291753" cy="4584700"/>
          </a:xfrm>
          <a:prstGeom prst="rect">
            <a:avLst/>
          </a:prstGeom>
        </p:spPr>
      </p:pic>
      <p:cxnSp>
        <p:nvCxnSpPr>
          <p:cNvPr id="7" name="Straight Connector 6">
            <a:extLst>
              <a:ext uri="{FF2B5EF4-FFF2-40B4-BE49-F238E27FC236}">
                <a16:creationId xmlns:a16="http://schemas.microsoft.com/office/drawing/2014/main" id="{A76E4F1E-7038-4DD1-8067-AB389CD44DFA}"/>
              </a:ext>
            </a:extLst>
          </p:cNvPr>
          <p:cNvCxnSpPr/>
          <p:nvPr userDrawn="1"/>
        </p:nvCxnSpPr>
        <p:spPr>
          <a:xfrm>
            <a:off x="11676063" y="6545987"/>
            <a:ext cx="0" cy="2502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1CD63A7-A54A-4A97-A067-903DEA2CD75A}"/>
              </a:ext>
            </a:extLst>
          </p:cNvPr>
          <p:cNvSpPr txBox="1"/>
          <p:nvPr userDrawn="1"/>
        </p:nvSpPr>
        <p:spPr>
          <a:xfrm>
            <a:off x="11729212" y="6631208"/>
            <a:ext cx="265176"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1200" b="0" smtClean="0">
                <a:solidFill>
                  <a:schemeClr val="bg1"/>
                </a:solidFill>
                <a:latin typeface="Georgia Pro" panose="02040502050405020303" pitchFamily="18" charset="0"/>
                <a:cs typeface="Sakkal Majalla" panose="02000000000000000000" pitchFamily="2" charset="-78"/>
                <a:sym typeface="Georgia Pro" panose="02040502050405020303" pitchFamily="18" charset="0"/>
              </a:rPr>
              <a:pPr algn="r"/>
              <a:t>‹#›</a:t>
            </a:fld>
            <a:endParaRPr lang="en-US" sz="900" b="0" dirty="0">
              <a:solidFill>
                <a:schemeClr val="bg1"/>
              </a:solidFill>
              <a:latin typeface="Georgia Pro" panose="02040502050405020303" pitchFamily="18" charset="0"/>
              <a:cs typeface="Sakkal Majalla" panose="02000000000000000000" pitchFamily="2" charset="-78"/>
              <a:sym typeface="Georgia Pro" panose="02040502050405020303" pitchFamily="18" charset="0"/>
            </a:endParaRPr>
          </a:p>
        </p:txBody>
      </p:sp>
    </p:spTree>
    <p:extLst>
      <p:ext uri="{BB962C8B-B14F-4D97-AF65-F5344CB8AC3E}">
        <p14:creationId xmlns:p14="http://schemas.microsoft.com/office/powerpoint/2010/main" val="1154869501"/>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B205DF-DA38-4F2A-979F-D799B4F65B5C}"/>
              </a:ext>
            </a:extLst>
          </p:cNvPr>
          <p:cNvGraphicFramePr>
            <a:graphicFrameLocks noChangeAspect="1"/>
          </p:cNvGraphicFramePr>
          <p:nvPr userDrawn="1">
            <p:custDataLst>
              <p:tags r:id="rId1"/>
            </p:custDataLst>
            <p:extLst>
              <p:ext uri="{D42A27DB-BD31-4B8C-83A1-F6EECF244321}">
                <p14:modId xmlns:p14="http://schemas.microsoft.com/office/powerpoint/2010/main" val="299351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2" name="Object 1" hidden="1">
                        <a:extLst>
                          <a:ext uri="{FF2B5EF4-FFF2-40B4-BE49-F238E27FC236}">
                            <a16:creationId xmlns:a16="http://schemas.microsoft.com/office/drawing/2014/main" id="{10B205DF-DA38-4F2A-979F-D799B4F6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B0575B0-3ABC-46B3-8FDB-A223FEE227CE}"/>
              </a:ext>
            </a:extLst>
          </p:cNvPr>
          <p:cNvPicPr>
            <a:picLocks noChangeAspect="1"/>
          </p:cNvPicPr>
          <p:nvPr userDrawn="1"/>
        </p:nvPicPr>
        <p:blipFill>
          <a:blip r:embed="rId5"/>
          <a:stretch>
            <a:fillRect/>
          </a:stretch>
        </p:blipFill>
        <p:spPr>
          <a:xfrm>
            <a:off x="11397072" y="6544217"/>
            <a:ext cx="251989" cy="251989"/>
          </a:xfrm>
          <a:prstGeom prst="rect">
            <a:avLst/>
          </a:prstGeom>
        </p:spPr>
      </p:pic>
    </p:spTree>
    <p:extLst>
      <p:ext uri="{BB962C8B-B14F-4D97-AF65-F5344CB8AC3E}">
        <p14:creationId xmlns:p14="http://schemas.microsoft.com/office/powerpoint/2010/main" val="3681716480"/>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A11088C-2813-1642-B2E7-00D4B344B7D4}"/>
              </a:ext>
            </a:extLst>
          </p:cNvPr>
          <p:cNvSpPr/>
          <p:nvPr userDrawn="1"/>
        </p:nvSpPr>
        <p:spPr>
          <a:xfrm>
            <a:off x="0" y="2654300"/>
            <a:ext cx="11379197" cy="2360336"/>
          </a:xfrm>
          <a:prstGeom prst="rect">
            <a:avLst/>
          </a:prstGeom>
          <a:solidFill>
            <a:srgbClr val="1443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5" name="Title 4">
            <a:extLst>
              <a:ext uri="{FF2B5EF4-FFF2-40B4-BE49-F238E27FC236}">
                <a16:creationId xmlns:a16="http://schemas.microsoft.com/office/drawing/2014/main" id="{AB069963-0EA8-43DE-9FBB-513EA4374E79}"/>
              </a:ext>
            </a:extLst>
          </p:cNvPr>
          <p:cNvSpPr>
            <a:spLocks noGrp="1"/>
          </p:cNvSpPr>
          <p:nvPr>
            <p:ph type="title" hasCustomPrompt="1"/>
          </p:nvPr>
        </p:nvSpPr>
        <p:spPr>
          <a:xfrm>
            <a:off x="4826222" y="3049464"/>
            <a:ext cx="6015073" cy="759071"/>
          </a:xfrm>
          <a:prstGeom prst="rect">
            <a:avLst/>
          </a:prstGeom>
          <a:noFill/>
          <a:extLst>
            <a:ext uri="{909E8E84-426E-40DD-AFC4-6F175D3DCCD1}">
              <a14:hiddenFill xmlns:a14="http://schemas.microsoft.com/office/drawing/2010/main">
                <a:solidFill>
                  <a:schemeClr val="accent2"/>
                </a:solidFill>
              </a14:hiddenFill>
            </a:ext>
          </a:extLst>
        </p:spPr>
        <p:txBody>
          <a:bodyPr vert="horz" wrap="square" lIns="0" tIns="0" rIns="0" bIns="0" anchor="t" anchorCtr="0">
            <a:noAutofit/>
          </a:bodyPr>
          <a:lstStyle>
            <a:lvl1pPr marL="0" indent="0" algn="r" rtl="1">
              <a:lnSpc>
                <a:spcPct val="100000"/>
              </a:lnSpc>
              <a:spcBef>
                <a:spcPts val="0"/>
              </a:spcBef>
              <a:spcAft>
                <a:spcPts val="0"/>
              </a:spcAft>
              <a:defRPr sz="3200" b="1" i="0" u="none" kern="1200" spc="0">
                <a:solidFill>
                  <a:schemeClr val="bg1"/>
                </a:solidFill>
                <a:latin typeface="Sakkal Majalla" panose="02000000000000000000" pitchFamily="2" charset="-78"/>
              </a:defRPr>
            </a:lvl1pPr>
          </a:lstStyle>
          <a:p>
            <a:pPr lvl="0"/>
            <a:r>
              <a:rPr lang="ar-SA" dirty="0"/>
              <a:t>العنوان الرئيسي</a:t>
            </a:r>
            <a:endParaRPr lang="en-US" dirty="0"/>
          </a:p>
        </p:txBody>
      </p:sp>
      <p:sp>
        <p:nvSpPr>
          <p:cNvPr id="10" name="Subtitle 2">
            <a:extLst>
              <a:ext uri="{FF2B5EF4-FFF2-40B4-BE49-F238E27FC236}">
                <a16:creationId xmlns:a16="http://schemas.microsoft.com/office/drawing/2014/main" id="{36DADFAE-FD48-D143-BB09-4C4C12921F3C}"/>
              </a:ext>
            </a:extLst>
          </p:cNvPr>
          <p:cNvSpPr>
            <a:spLocks noGrp="1"/>
          </p:cNvSpPr>
          <p:nvPr>
            <p:ph type="subTitle" idx="1" hasCustomPrompt="1"/>
          </p:nvPr>
        </p:nvSpPr>
        <p:spPr>
          <a:xfrm>
            <a:off x="5021803" y="4050157"/>
            <a:ext cx="5819492" cy="396495"/>
          </a:xfrm>
          <a:prstGeom prst="rect">
            <a:avLst/>
          </a:prstGeom>
        </p:spPr>
        <p:txBody>
          <a:bodyPr wrap="square" lIns="0" tIns="0" rIns="0" bIns="0">
            <a:noAutofit/>
          </a:bodyPr>
          <a:lstStyle>
            <a:lvl1pPr marL="0" indent="0" algn="r" rtl="1">
              <a:buNone/>
              <a:defRPr sz="2400" b="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a:t>العنوان الفرعي</a:t>
            </a:r>
            <a:endParaRPr lang="en-US" dirty="0"/>
          </a:p>
        </p:txBody>
      </p:sp>
      <p:sp>
        <p:nvSpPr>
          <p:cNvPr id="20" name="Date Placeholder 19">
            <a:extLst>
              <a:ext uri="{FF2B5EF4-FFF2-40B4-BE49-F238E27FC236}">
                <a16:creationId xmlns:a16="http://schemas.microsoft.com/office/drawing/2014/main" id="{DFA74A8A-BC2D-E449-BCE0-CB2C569DD955}"/>
              </a:ext>
            </a:extLst>
          </p:cNvPr>
          <p:cNvSpPr>
            <a:spLocks noGrp="1"/>
          </p:cNvSpPr>
          <p:nvPr>
            <p:ph type="dt" sz="half" idx="10"/>
          </p:nvPr>
        </p:nvSpPr>
        <p:spPr>
          <a:xfrm>
            <a:off x="8321391" y="6211667"/>
            <a:ext cx="2743200" cy="365125"/>
          </a:xfrm>
        </p:spPr>
        <p:txBody>
          <a:bodyPr/>
          <a:lstStyle/>
          <a:p>
            <a:pPr marL="0" algn="r" defTabSz="914400" rtl="1" eaLnBrk="1" latinLnBrk="0" hangingPunct="1"/>
            <a:r>
              <a:rPr lang="ar-SA" dirty="0"/>
              <a:t>التاريخ</a:t>
            </a:r>
            <a:endParaRPr lang="en-US" dirty="0"/>
          </a:p>
        </p:txBody>
      </p:sp>
      <p:pic>
        <p:nvPicPr>
          <p:cNvPr id="2" name="Picture 1">
            <a:extLst>
              <a:ext uri="{FF2B5EF4-FFF2-40B4-BE49-F238E27FC236}">
                <a16:creationId xmlns:a16="http://schemas.microsoft.com/office/drawing/2014/main" id="{4BEDA2E5-92EE-3C49-800A-09C07D9DD529}"/>
              </a:ext>
            </a:extLst>
          </p:cNvPr>
          <p:cNvPicPr>
            <a:picLocks noChangeAspect="1"/>
          </p:cNvPicPr>
          <p:nvPr userDrawn="1"/>
        </p:nvPicPr>
        <p:blipFill>
          <a:blip r:embed="rId2"/>
          <a:stretch>
            <a:fillRect/>
          </a:stretch>
        </p:blipFill>
        <p:spPr>
          <a:xfrm>
            <a:off x="8709511" y="447217"/>
            <a:ext cx="3179760" cy="1134000"/>
          </a:xfrm>
          <a:prstGeom prst="rect">
            <a:avLst/>
          </a:prstGeom>
        </p:spPr>
      </p:pic>
      <p:sp>
        <p:nvSpPr>
          <p:cNvPr id="3" name="مربع نص 2">
            <a:extLst>
              <a:ext uri="{FF2B5EF4-FFF2-40B4-BE49-F238E27FC236}">
                <a16:creationId xmlns:a16="http://schemas.microsoft.com/office/drawing/2014/main" id="{B3844120-D015-D242-8394-D86AB194F74F}"/>
              </a:ext>
            </a:extLst>
          </p:cNvPr>
          <p:cNvSpPr txBox="1"/>
          <p:nvPr userDrawn="1"/>
        </p:nvSpPr>
        <p:spPr>
          <a:xfrm>
            <a:off x="8776252" y="6211957"/>
            <a:ext cx="0" cy="0"/>
          </a:xfrm>
          <a:prstGeom prst="rect">
            <a:avLst/>
          </a:prstGeom>
        </p:spPr>
        <p:txBody>
          <a:bodyPr vert="horz" wrap="none" lIns="0" tIns="0" rIns="0" bIns="0" rtlCol="1" anchor="t">
            <a:noAutofit/>
          </a:bodyPr>
          <a:lstStyle/>
          <a:p>
            <a:pPr algn="l"/>
            <a:endParaRPr lang="ar-SA" sz="2800" dirty="0">
              <a:solidFill>
                <a:schemeClr val="accent1"/>
              </a:solidFill>
            </a:endParaRPr>
          </a:p>
        </p:txBody>
      </p:sp>
      <p:pic>
        <p:nvPicPr>
          <p:cNvPr id="15" name="Picture 14">
            <a:extLst>
              <a:ext uri="{FF2B5EF4-FFF2-40B4-BE49-F238E27FC236}">
                <a16:creationId xmlns:a16="http://schemas.microsoft.com/office/drawing/2014/main" id="{C4DC03FA-FBF4-4D17-9559-8F790E9C1889}"/>
              </a:ext>
            </a:extLst>
          </p:cNvPr>
          <p:cNvPicPr>
            <a:picLocks noChangeAspect="1"/>
          </p:cNvPicPr>
          <p:nvPr userDrawn="1"/>
        </p:nvPicPr>
        <p:blipFill>
          <a:blip r:embed="rId3"/>
          <a:stretch>
            <a:fillRect/>
          </a:stretch>
        </p:blipFill>
        <p:spPr>
          <a:xfrm>
            <a:off x="447508" y="1289465"/>
            <a:ext cx="3840813" cy="4828450"/>
          </a:xfrm>
          <a:prstGeom prst="rect">
            <a:avLst/>
          </a:prstGeom>
        </p:spPr>
      </p:pic>
    </p:spTree>
    <p:extLst>
      <p:ext uri="{BB962C8B-B14F-4D97-AF65-F5344CB8AC3E}">
        <p14:creationId xmlns:p14="http://schemas.microsoft.com/office/powerpoint/2010/main" val="42408514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orient="horz" pos="346">
          <p15:clr>
            <a:srgbClr val="FBAE40"/>
          </p15:clr>
        </p15:guide>
        <p15:guide id="5" orient="horz" pos="39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6D21E7F-03F3-472F-94CF-534F0427BBD7}"/>
              </a:ext>
            </a:extLst>
          </p:cNvPr>
          <p:cNvSpPr/>
          <p:nvPr userDrawn="1"/>
        </p:nvSpPr>
        <p:spPr>
          <a:xfrm>
            <a:off x="-10613" y="0"/>
            <a:ext cx="122026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5" name="Rectangle 4">
            <a:extLst>
              <a:ext uri="{FF2B5EF4-FFF2-40B4-BE49-F238E27FC236}">
                <a16:creationId xmlns:a16="http://schemas.microsoft.com/office/drawing/2014/main" id="{C5190E16-781E-457A-BA28-D27E3987B18E}"/>
              </a:ext>
            </a:extLst>
          </p:cNvPr>
          <p:cNvSpPr/>
          <p:nvPr userDrawn="1"/>
        </p:nvSpPr>
        <p:spPr>
          <a:xfrm>
            <a:off x="8826500" y="-1"/>
            <a:ext cx="3365500" cy="6857999"/>
          </a:xfrm>
          <a:prstGeom prst="rect">
            <a:avLst/>
          </a:prstGeom>
          <a:solidFill>
            <a:srgbClr val="1443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AE741EE-72AE-1F44-A778-695B47CF24A9}"/>
              </a:ext>
            </a:extLst>
          </p:cNvPr>
          <p:cNvSpPr>
            <a:spLocks noGrp="1"/>
          </p:cNvSpPr>
          <p:nvPr>
            <p:ph idx="19" hasCustomPrompt="1"/>
          </p:nvPr>
        </p:nvSpPr>
        <p:spPr>
          <a:xfrm>
            <a:off x="150767" y="1207147"/>
            <a:ext cx="6674034" cy="769370"/>
          </a:xfrm>
          <a:prstGeom prst="rect">
            <a:avLst/>
          </a:prstGeom>
        </p:spPr>
        <p:txBody>
          <a:bodyPr wrap="square" lIns="0" tIns="0" rIns="0" bIns="0" anchor="ctr" anchorCtr="0">
            <a:noAutofit/>
          </a:bodyPr>
          <a:lstStyle>
            <a:lvl1pPr marL="0" indent="0" algn="r" rtl="1">
              <a:buNone/>
              <a:tabLst/>
              <a:defRPr sz="2400" b="0" i="0">
                <a:solidFill>
                  <a:schemeClr val="tx1"/>
                </a:solidFill>
                <a:latin typeface="+mj-lt"/>
                <a:cs typeface="+mj-cs"/>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r" rtl="1">
              <a:buNone/>
              <a:tabLst/>
              <a:defRPr b="1">
                <a:solidFill>
                  <a:schemeClr val="tx1"/>
                </a:solidFill>
                <a:latin typeface="+mj-lt"/>
              </a:defRPr>
            </a:lvl3pPr>
            <a:lvl4pPr marL="1371600" indent="0">
              <a:buNone/>
              <a:defRPr/>
            </a:lvl4pPr>
            <a:lvl5pPr marL="1828800" indent="0">
              <a:buNone/>
              <a:defRPr/>
            </a:lvl5pPr>
          </a:lstStyle>
          <a:p>
            <a:r>
              <a:rPr lang="ar-SA" dirty="0"/>
              <a:t>العنوان الرئيسي</a:t>
            </a:r>
            <a:endParaRPr lang="en-US" dirty="0"/>
          </a:p>
          <a:p>
            <a:pPr lvl="2"/>
            <a:r>
              <a:rPr lang="ar-SA" dirty="0"/>
              <a:t>العنوان الفرعي</a:t>
            </a:r>
            <a:endParaRPr lang="en-US" dirty="0"/>
          </a:p>
        </p:txBody>
      </p:sp>
      <p:sp>
        <p:nvSpPr>
          <p:cNvPr id="27" name="Content Placeholder 2">
            <a:extLst>
              <a:ext uri="{FF2B5EF4-FFF2-40B4-BE49-F238E27FC236}">
                <a16:creationId xmlns:a16="http://schemas.microsoft.com/office/drawing/2014/main" id="{28CDB4FA-D793-3A43-849B-FAA3D14351C3}"/>
              </a:ext>
            </a:extLst>
          </p:cNvPr>
          <p:cNvSpPr>
            <a:spLocks noGrp="1"/>
          </p:cNvSpPr>
          <p:nvPr>
            <p:ph idx="20" hasCustomPrompt="1"/>
          </p:nvPr>
        </p:nvSpPr>
        <p:spPr>
          <a:xfrm>
            <a:off x="6859602" y="4539926"/>
            <a:ext cx="1005203" cy="783986"/>
          </a:xfrm>
          <a:prstGeom prst="rect">
            <a:avLst/>
          </a:prstGeom>
          <a:noFill/>
        </p:spPr>
        <p:txBody>
          <a:bodyPr wrap="square" lIns="0" tIns="0" rIns="0" bIns="0" anchor="ctr" anchorCtr="0">
            <a:noAutofit/>
          </a:bodyPr>
          <a:lstStyle>
            <a:lvl1pPr marL="0" indent="0" algn="r" rtl="1">
              <a:buNone/>
              <a:tabLst/>
              <a:defRPr sz="3600">
                <a:ln>
                  <a:noFill/>
                </a:ln>
                <a:solidFill>
                  <a:schemeClr val="tx1"/>
                </a:solidFill>
                <a:effectLst>
                  <a:outerShdw dist="50800" dir="5400000" sx="1000" sy="1000" algn="ctr" rotWithShape="0">
                    <a:srgbClr val="000000">
                      <a:alpha val="0"/>
                    </a:srgbClr>
                  </a:outerShdw>
                </a:effectLst>
                <a:latin typeface="+mj-lt"/>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ar-SA" dirty="0"/>
              <a:t>٠٤</a:t>
            </a:r>
            <a:endParaRPr lang="en-US" dirty="0"/>
          </a:p>
        </p:txBody>
      </p:sp>
      <p:sp>
        <p:nvSpPr>
          <p:cNvPr id="29" name="Content Placeholder 2">
            <a:extLst>
              <a:ext uri="{FF2B5EF4-FFF2-40B4-BE49-F238E27FC236}">
                <a16:creationId xmlns:a16="http://schemas.microsoft.com/office/drawing/2014/main" id="{48E492F4-11AA-824E-8AD6-484663D1DB4A}"/>
              </a:ext>
            </a:extLst>
          </p:cNvPr>
          <p:cNvSpPr>
            <a:spLocks noGrp="1"/>
          </p:cNvSpPr>
          <p:nvPr>
            <p:ph idx="22" hasCustomPrompt="1"/>
          </p:nvPr>
        </p:nvSpPr>
        <p:spPr>
          <a:xfrm>
            <a:off x="6859602" y="5650853"/>
            <a:ext cx="1005203" cy="769370"/>
          </a:xfrm>
          <a:prstGeom prst="rect">
            <a:avLst/>
          </a:prstGeom>
          <a:noFill/>
        </p:spPr>
        <p:txBody>
          <a:bodyPr wrap="square" lIns="0" tIns="0" rIns="0" bIns="0" anchor="ctr" anchorCtr="0">
            <a:noAutofit/>
          </a:bodyPr>
          <a:lstStyle>
            <a:lvl1pPr marL="0" indent="0" algn="r" rtl="1">
              <a:buNone/>
              <a:tabLst/>
              <a:defRPr sz="3600">
                <a:ln>
                  <a:noFill/>
                </a:ln>
                <a:solidFill>
                  <a:schemeClr val="tx1"/>
                </a:solidFill>
                <a:effectLst>
                  <a:outerShdw dist="50800" dir="5400000" sx="1000" sy="1000" algn="ctr" rotWithShape="0">
                    <a:srgbClr val="000000">
                      <a:alpha val="0"/>
                    </a:srgbClr>
                  </a:outerShdw>
                </a:effectLst>
                <a:latin typeface="+mj-lt"/>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ar-SA" dirty="0"/>
              <a:t>٠٥</a:t>
            </a:r>
            <a:endParaRPr lang="en-US" dirty="0"/>
          </a:p>
        </p:txBody>
      </p:sp>
      <p:sp>
        <p:nvSpPr>
          <p:cNvPr id="33" name="Content Placeholder 2">
            <a:extLst>
              <a:ext uri="{FF2B5EF4-FFF2-40B4-BE49-F238E27FC236}">
                <a16:creationId xmlns:a16="http://schemas.microsoft.com/office/drawing/2014/main" id="{B9BC78CA-79E7-CA49-8192-0AF12DEB4523}"/>
              </a:ext>
            </a:extLst>
          </p:cNvPr>
          <p:cNvSpPr>
            <a:spLocks noGrp="1"/>
          </p:cNvSpPr>
          <p:nvPr>
            <p:ph idx="26" hasCustomPrompt="1"/>
          </p:nvPr>
        </p:nvSpPr>
        <p:spPr>
          <a:xfrm>
            <a:off x="6859603" y="1207147"/>
            <a:ext cx="1005203" cy="776980"/>
          </a:xfrm>
          <a:prstGeom prst="rect">
            <a:avLst/>
          </a:prstGeom>
          <a:noFill/>
        </p:spPr>
        <p:txBody>
          <a:bodyPr wrap="square" lIns="0" tIns="0" rIns="0" bIns="0" anchor="ctr" anchorCtr="0">
            <a:noAutofit/>
          </a:bodyPr>
          <a:lstStyle>
            <a:lvl1pPr marL="0" indent="0" algn="r" rtl="1">
              <a:buNone/>
              <a:tabLst/>
              <a:defRPr sz="3600">
                <a:ln>
                  <a:noFill/>
                </a:ln>
                <a:solidFill>
                  <a:schemeClr val="tx1"/>
                </a:solidFill>
                <a:effectLst>
                  <a:outerShdw dist="50800" dir="5400000" sx="1000" sy="1000" algn="ctr" rotWithShape="0">
                    <a:srgbClr val="000000">
                      <a:alpha val="0"/>
                    </a:srgbClr>
                  </a:outerShdw>
                </a:effectLst>
                <a:latin typeface="+mj-lt"/>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ar-SA" dirty="0"/>
              <a:t>٠١</a:t>
            </a:r>
            <a:endParaRPr lang="en-US" dirty="0"/>
          </a:p>
        </p:txBody>
      </p:sp>
      <p:sp>
        <p:nvSpPr>
          <p:cNvPr id="35" name="Content Placeholder 2">
            <a:extLst>
              <a:ext uri="{FF2B5EF4-FFF2-40B4-BE49-F238E27FC236}">
                <a16:creationId xmlns:a16="http://schemas.microsoft.com/office/drawing/2014/main" id="{4CF47ED6-AD95-9649-87C4-336C521B1AA1}"/>
              </a:ext>
            </a:extLst>
          </p:cNvPr>
          <p:cNvSpPr>
            <a:spLocks noGrp="1"/>
          </p:cNvSpPr>
          <p:nvPr>
            <p:ph idx="28" hasCustomPrompt="1"/>
          </p:nvPr>
        </p:nvSpPr>
        <p:spPr>
          <a:xfrm>
            <a:off x="6846436" y="2318072"/>
            <a:ext cx="1005203" cy="776983"/>
          </a:xfrm>
          <a:prstGeom prst="rect">
            <a:avLst/>
          </a:prstGeom>
          <a:noFill/>
        </p:spPr>
        <p:txBody>
          <a:bodyPr wrap="square" lIns="0" tIns="0" rIns="0" bIns="0" anchor="ctr" anchorCtr="0">
            <a:noAutofit/>
          </a:bodyPr>
          <a:lstStyle>
            <a:lvl1pPr marL="0" indent="0" algn="r" rtl="1">
              <a:buNone/>
              <a:tabLst/>
              <a:defRPr sz="3600">
                <a:ln>
                  <a:noFill/>
                </a:ln>
                <a:solidFill>
                  <a:schemeClr val="tx1"/>
                </a:solidFill>
                <a:effectLst>
                  <a:outerShdw dist="50800" dir="5400000" sx="1000" sy="1000" algn="ctr" rotWithShape="0">
                    <a:srgbClr val="000000">
                      <a:alpha val="0"/>
                    </a:srgbClr>
                  </a:outerShdw>
                </a:effectLst>
                <a:latin typeface="+mj-lt"/>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ar-SA" dirty="0"/>
              <a:t>٠٢</a:t>
            </a:r>
            <a:endParaRPr lang="en-US" dirty="0"/>
          </a:p>
        </p:txBody>
      </p:sp>
      <p:sp>
        <p:nvSpPr>
          <p:cNvPr id="37" name="Content Placeholder 2">
            <a:extLst>
              <a:ext uri="{FF2B5EF4-FFF2-40B4-BE49-F238E27FC236}">
                <a16:creationId xmlns:a16="http://schemas.microsoft.com/office/drawing/2014/main" id="{87856791-D808-5F49-96AE-FC25C61E5F34}"/>
              </a:ext>
            </a:extLst>
          </p:cNvPr>
          <p:cNvSpPr>
            <a:spLocks noGrp="1"/>
          </p:cNvSpPr>
          <p:nvPr>
            <p:ph idx="30" hasCustomPrompt="1"/>
          </p:nvPr>
        </p:nvSpPr>
        <p:spPr>
          <a:xfrm>
            <a:off x="6859603" y="3428999"/>
            <a:ext cx="1005203" cy="776979"/>
          </a:xfrm>
          <a:prstGeom prst="rect">
            <a:avLst/>
          </a:prstGeom>
          <a:noFill/>
        </p:spPr>
        <p:txBody>
          <a:bodyPr wrap="square" lIns="0" tIns="0" rIns="0" bIns="0" anchor="ctr" anchorCtr="0">
            <a:noAutofit/>
          </a:bodyPr>
          <a:lstStyle>
            <a:lvl1pPr marL="0" indent="0" algn="r" rtl="1">
              <a:buNone/>
              <a:tabLst/>
              <a:defRPr sz="3600">
                <a:ln>
                  <a:noFill/>
                </a:ln>
                <a:solidFill>
                  <a:schemeClr val="tx1"/>
                </a:solidFill>
                <a:effectLst>
                  <a:outerShdw dist="50800" dir="5400000" sx="1000" sy="1000" algn="ctr" rotWithShape="0">
                    <a:srgbClr val="000000">
                      <a:alpha val="0"/>
                    </a:srgbClr>
                  </a:outerShdw>
                </a:effectLst>
                <a:latin typeface="+mj-lt"/>
              </a:defRPr>
            </a:lvl1pPr>
            <a:lvl2pPr marL="0" indent="0">
              <a:buNone/>
              <a:tabLst/>
              <a:defRPr sz="2400" b="1">
                <a:solidFill>
                  <a:schemeClr val="accent1"/>
                </a:solidFill>
              </a:defRPr>
            </a:lvl2pPr>
            <a:lvl3pPr marL="914400" indent="0">
              <a:buNone/>
              <a:defRPr/>
            </a:lvl3pPr>
            <a:lvl4pPr marL="1371600" indent="0">
              <a:buNone/>
              <a:defRPr/>
            </a:lvl4pPr>
            <a:lvl5pPr marL="1828800" indent="0">
              <a:buNone/>
              <a:defRPr/>
            </a:lvl5pPr>
          </a:lstStyle>
          <a:p>
            <a:pPr lvl="0"/>
            <a:r>
              <a:rPr lang="ar-SA" dirty="0"/>
              <a:t>٠٣</a:t>
            </a:r>
            <a:endParaRPr lang="en-US" dirty="0"/>
          </a:p>
        </p:txBody>
      </p:sp>
      <p:sp>
        <p:nvSpPr>
          <p:cNvPr id="17" name="Content Placeholder 2">
            <a:extLst>
              <a:ext uri="{FF2B5EF4-FFF2-40B4-BE49-F238E27FC236}">
                <a16:creationId xmlns:a16="http://schemas.microsoft.com/office/drawing/2014/main" id="{F2E4EE08-2D62-3240-BF8C-336B397A7E55}"/>
              </a:ext>
            </a:extLst>
          </p:cNvPr>
          <p:cNvSpPr>
            <a:spLocks noGrp="1"/>
          </p:cNvSpPr>
          <p:nvPr>
            <p:ph idx="31" hasCustomPrompt="1"/>
          </p:nvPr>
        </p:nvSpPr>
        <p:spPr>
          <a:xfrm>
            <a:off x="150767" y="2325445"/>
            <a:ext cx="6674034" cy="776983"/>
          </a:xfrm>
          <a:prstGeom prst="rect">
            <a:avLst/>
          </a:prstGeom>
        </p:spPr>
        <p:txBody>
          <a:bodyPr wrap="square" lIns="0" tIns="0" rIns="0" bIns="0" anchor="ctr" anchorCtr="0">
            <a:noAutofit/>
          </a:bodyPr>
          <a:lstStyle>
            <a:lvl1pPr marL="0" indent="0" algn="r" rtl="1">
              <a:buNone/>
              <a:tabLst/>
              <a:defRPr lang="en-US" sz="2400" b="0" i="0" kern="1200" dirty="0">
                <a:solidFill>
                  <a:schemeClr val="tx1"/>
                </a:solidFill>
                <a:latin typeface="+mj-lt"/>
                <a:ea typeface="+mn-ea"/>
                <a:cs typeface="+mj-cs"/>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r" rtl="1">
              <a:buNone/>
              <a:tabLst/>
              <a:defRPr b="1">
                <a:solidFill>
                  <a:schemeClr val="tx1"/>
                </a:solidFill>
                <a:latin typeface="+mj-lt"/>
              </a:defRPr>
            </a:lvl3pPr>
            <a:lvl4pPr marL="1371600" indent="0">
              <a:buNone/>
              <a:defRPr/>
            </a:lvl4pPr>
            <a:lvl5pPr marL="1828800" indent="0">
              <a:buNone/>
              <a:defRPr/>
            </a:lvl5pPr>
          </a:lstStyle>
          <a:p>
            <a:r>
              <a:rPr lang="ar-SA" dirty="0"/>
              <a:t>العنوان الرئيسي</a:t>
            </a:r>
            <a:endParaRPr lang="en-US" dirty="0"/>
          </a:p>
          <a:p>
            <a:pPr lvl="2"/>
            <a:r>
              <a:rPr lang="ar-SA" dirty="0"/>
              <a:t>العنوان الفرعي</a:t>
            </a:r>
            <a:endParaRPr lang="en-US" dirty="0"/>
          </a:p>
        </p:txBody>
      </p:sp>
      <p:sp>
        <p:nvSpPr>
          <p:cNvPr id="18" name="Content Placeholder 2">
            <a:extLst>
              <a:ext uri="{FF2B5EF4-FFF2-40B4-BE49-F238E27FC236}">
                <a16:creationId xmlns:a16="http://schemas.microsoft.com/office/drawing/2014/main" id="{21A57E7D-6107-D844-8F56-2848F5FA933E}"/>
              </a:ext>
            </a:extLst>
          </p:cNvPr>
          <p:cNvSpPr>
            <a:spLocks noGrp="1"/>
          </p:cNvSpPr>
          <p:nvPr>
            <p:ph idx="32" hasCustomPrompt="1"/>
          </p:nvPr>
        </p:nvSpPr>
        <p:spPr>
          <a:xfrm>
            <a:off x="150767" y="3426125"/>
            <a:ext cx="6674034" cy="769370"/>
          </a:xfrm>
          <a:prstGeom prst="rect">
            <a:avLst/>
          </a:prstGeom>
        </p:spPr>
        <p:txBody>
          <a:bodyPr wrap="square" lIns="0" tIns="0" rIns="0" bIns="0" anchor="ctr" anchorCtr="0">
            <a:noAutofit/>
          </a:bodyPr>
          <a:lstStyle>
            <a:lvl1pPr marL="0" indent="0" algn="r" rtl="1">
              <a:buNone/>
              <a:tabLst/>
              <a:defRPr lang="en-US" sz="2400" b="0" i="0" kern="1200" dirty="0">
                <a:solidFill>
                  <a:schemeClr val="tx1"/>
                </a:solidFill>
                <a:latin typeface="+mj-lt"/>
                <a:ea typeface="+mn-ea"/>
                <a:cs typeface="+mj-cs"/>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r" rtl="1">
              <a:buNone/>
              <a:tabLst/>
              <a:defRPr b="1">
                <a:solidFill>
                  <a:schemeClr val="tx1"/>
                </a:solidFill>
                <a:latin typeface="+mj-lt"/>
              </a:defRPr>
            </a:lvl3pPr>
            <a:lvl4pPr marL="1371600" indent="0">
              <a:buNone/>
              <a:defRPr/>
            </a:lvl4pPr>
            <a:lvl5pPr marL="1828800" indent="0">
              <a:buNone/>
              <a:defRPr/>
            </a:lvl5pPr>
          </a:lstStyle>
          <a:p>
            <a:r>
              <a:rPr lang="ar-SA" dirty="0"/>
              <a:t>العنوان الرئيسي</a:t>
            </a:r>
            <a:endParaRPr lang="en-US" dirty="0"/>
          </a:p>
          <a:p>
            <a:pPr lvl="2"/>
            <a:r>
              <a:rPr lang="ar-SA" dirty="0"/>
              <a:t>العنوان الفرعي</a:t>
            </a:r>
            <a:endParaRPr lang="en-US" dirty="0"/>
          </a:p>
        </p:txBody>
      </p:sp>
      <p:sp>
        <p:nvSpPr>
          <p:cNvPr id="22" name="Content Placeholder 2">
            <a:extLst>
              <a:ext uri="{FF2B5EF4-FFF2-40B4-BE49-F238E27FC236}">
                <a16:creationId xmlns:a16="http://schemas.microsoft.com/office/drawing/2014/main" id="{72D154D9-0752-9249-975A-BA2FD8D646F0}"/>
              </a:ext>
            </a:extLst>
          </p:cNvPr>
          <p:cNvSpPr>
            <a:spLocks noGrp="1"/>
          </p:cNvSpPr>
          <p:nvPr>
            <p:ph idx="33" hasCustomPrompt="1"/>
          </p:nvPr>
        </p:nvSpPr>
        <p:spPr>
          <a:xfrm>
            <a:off x="155213" y="4554542"/>
            <a:ext cx="6665142" cy="769370"/>
          </a:xfrm>
          <a:prstGeom prst="rect">
            <a:avLst/>
          </a:prstGeom>
        </p:spPr>
        <p:txBody>
          <a:bodyPr wrap="square" lIns="0" tIns="0" rIns="0" bIns="0" anchor="ctr" anchorCtr="0">
            <a:noAutofit/>
          </a:bodyPr>
          <a:lstStyle>
            <a:lvl1pPr marL="0" indent="0" algn="r" rtl="1">
              <a:buNone/>
              <a:tabLst/>
              <a:defRPr lang="en-US" sz="2400" b="0" i="0" kern="1200" dirty="0">
                <a:solidFill>
                  <a:schemeClr val="tx1"/>
                </a:solidFill>
                <a:latin typeface="+mj-lt"/>
                <a:ea typeface="+mn-ea"/>
                <a:cs typeface="+mj-cs"/>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r" rtl="1">
              <a:buNone/>
              <a:tabLst/>
              <a:defRPr b="1">
                <a:solidFill>
                  <a:schemeClr val="tx1"/>
                </a:solidFill>
                <a:latin typeface="+mj-lt"/>
              </a:defRPr>
            </a:lvl3pPr>
            <a:lvl4pPr marL="1371600" indent="0">
              <a:buNone/>
              <a:defRPr/>
            </a:lvl4pPr>
            <a:lvl5pPr marL="1828800" indent="0">
              <a:buNone/>
              <a:defRPr/>
            </a:lvl5pPr>
          </a:lstStyle>
          <a:p>
            <a:r>
              <a:rPr lang="ar-SA" dirty="0"/>
              <a:t>العنوان الرئيسي</a:t>
            </a:r>
            <a:endParaRPr lang="en-US" dirty="0"/>
          </a:p>
          <a:p>
            <a:pPr lvl="2"/>
            <a:r>
              <a:rPr lang="ar-SA" dirty="0"/>
              <a:t>العنوان الفرعي</a:t>
            </a:r>
            <a:endParaRPr lang="en-US" dirty="0"/>
          </a:p>
        </p:txBody>
      </p:sp>
      <p:sp>
        <p:nvSpPr>
          <p:cNvPr id="23" name="Content Placeholder 2">
            <a:extLst>
              <a:ext uri="{FF2B5EF4-FFF2-40B4-BE49-F238E27FC236}">
                <a16:creationId xmlns:a16="http://schemas.microsoft.com/office/drawing/2014/main" id="{73098609-9F5B-AB41-8EEA-4E7DDB6C4052}"/>
              </a:ext>
            </a:extLst>
          </p:cNvPr>
          <p:cNvSpPr>
            <a:spLocks noGrp="1"/>
          </p:cNvSpPr>
          <p:nvPr>
            <p:ph idx="34" hasCustomPrompt="1"/>
          </p:nvPr>
        </p:nvSpPr>
        <p:spPr>
          <a:xfrm>
            <a:off x="144756" y="5650853"/>
            <a:ext cx="6665142" cy="769370"/>
          </a:xfrm>
          <a:prstGeom prst="rect">
            <a:avLst/>
          </a:prstGeom>
        </p:spPr>
        <p:txBody>
          <a:bodyPr wrap="square" lIns="0" tIns="0" rIns="0" bIns="0" anchor="ctr" anchorCtr="0">
            <a:noAutofit/>
          </a:bodyPr>
          <a:lstStyle>
            <a:lvl1pPr marL="0" indent="0" algn="r" rtl="1">
              <a:buNone/>
              <a:tabLst/>
              <a:defRPr lang="en-US" sz="2400" b="0" i="0" kern="1200" dirty="0">
                <a:solidFill>
                  <a:schemeClr val="tx1"/>
                </a:solidFill>
                <a:latin typeface="+mj-lt"/>
                <a:ea typeface="+mn-ea"/>
                <a:cs typeface="+mj-cs"/>
              </a:defRPr>
            </a:lvl1pPr>
            <a:lvl2pPr marL="0" indent="0" algn="r" rtl="1">
              <a:buNone/>
              <a:tabLst/>
              <a:defRPr sz="2400" b="0" i="0">
                <a:solidFill>
                  <a:schemeClr val="accent1"/>
                </a:solidFill>
                <a:latin typeface="Arial" panose="020B0604020202020204" pitchFamily="34" charset="0"/>
                <a:cs typeface="Arial" panose="020B0604020202020204" pitchFamily="34" charset="0"/>
              </a:defRPr>
            </a:lvl2pPr>
            <a:lvl3pPr marL="4763" indent="0" algn="r" rtl="1">
              <a:buNone/>
              <a:tabLst/>
              <a:defRPr b="1">
                <a:solidFill>
                  <a:schemeClr val="tx1"/>
                </a:solidFill>
                <a:latin typeface="+mj-lt"/>
              </a:defRPr>
            </a:lvl3pPr>
            <a:lvl4pPr marL="1371600" indent="0">
              <a:buNone/>
              <a:defRPr/>
            </a:lvl4pPr>
            <a:lvl5pPr marL="1828800" indent="0">
              <a:buNone/>
              <a:defRPr/>
            </a:lvl5pPr>
          </a:lstStyle>
          <a:p>
            <a:r>
              <a:rPr lang="ar-SA" dirty="0"/>
              <a:t>العنوان الرئيسي</a:t>
            </a:r>
            <a:endParaRPr lang="en-US" dirty="0"/>
          </a:p>
          <a:p>
            <a:pPr lvl="2"/>
            <a:r>
              <a:rPr lang="ar-SA" dirty="0"/>
              <a:t>العنوان الفرعي</a:t>
            </a:r>
            <a:endParaRPr lang="en-US" dirty="0"/>
          </a:p>
        </p:txBody>
      </p:sp>
      <p:sp>
        <p:nvSpPr>
          <p:cNvPr id="3" name="Title 2">
            <a:extLst>
              <a:ext uri="{FF2B5EF4-FFF2-40B4-BE49-F238E27FC236}">
                <a16:creationId xmlns:a16="http://schemas.microsoft.com/office/drawing/2014/main" id="{61E16F65-C05C-4F29-9401-656F07C502F6}"/>
              </a:ext>
            </a:extLst>
          </p:cNvPr>
          <p:cNvSpPr>
            <a:spLocks noGrp="1"/>
          </p:cNvSpPr>
          <p:nvPr>
            <p:ph type="title" hasCustomPrompt="1"/>
          </p:nvPr>
        </p:nvSpPr>
        <p:spPr>
          <a:xfrm>
            <a:off x="9125072" y="949804"/>
            <a:ext cx="1725899" cy="759071"/>
          </a:xfrm>
          <a:prstGeom prst="rect">
            <a:avLst/>
          </a:prstGeom>
          <a:noFill/>
        </p:spPr>
        <p:txBody>
          <a:bodyPr vert="horz" wrap="square" lIns="91440" tIns="45720" rIns="91440" bIns="45720" anchor="t" anchorCtr="0">
            <a:noAutofit/>
          </a:bodyPr>
          <a:lstStyle>
            <a:lvl1pPr marL="0" indent="0" algn="ctr" rtl="1">
              <a:lnSpc>
                <a:spcPct val="100000"/>
              </a:lnSpc>
              <a:spcBef>
                <a:spcPts val="0"/>
              </a:spcBef>
              <a:spcAft>
                <a:spcPts val="0"/>
              </a:spcAft>
              <a:defRPr sz="4800" b="1" i="0" u="none" kern="1200" spc="0">
                <a:solidFill>
                  <a:schemeClr val="bg1"/>
                </a:solidFill>
                <a:latin typeface="Sakkal Majalla" panose="02000000000000000000" pitchFamily="2" charset="-78"/>
              </a:defRPr>
            </a:lvl1pPr>
          </a:lstStyle>
          <a:p>
            <a:pPr lvl="0"/>
            <a:r>
              <a:rPr lang="ar-SA" dirty="0"/>
              <a:t>الأجندة</a:t>
            </a:r>
            <a:endParaRPr lang="en-US" dirty="0"/>
          </a:p>
        </p:txBody>
      </p:sp>
      <p:cxnSp>
        <p:nvCxnSpPr>
          <p:cNvPr id="25" name="Straight Connector 24">
            <a:extLst>
              <a:ext uri="{FF2B5EF4-FFF2-40B4-BE49-F238E27FC236}">
                <a16:creationId xmlns:a16="http://schemas.microsoft.com/office/drawing/2014/main" id="{82B1D12B-CEF1-45E9-9AEE-EDA7CAC67F3C}"/>
              </a:ext>
            </a:extLst>
          </p:cNvPr>
          <p:cNvCxnSpPr/>
          <p:nvPr userDrawn="1"/>
        </p:nvCxnSpPr>
        <p:spPr>
          <a:xfrm>
            <a:off x="10862431" y="941077"/>
            <a:ext cx="0" cy="78529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214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OWER_USER_LAYOUT_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62CBF79-5CDE-49F7-989C-12645568491B}"/>
              </a:ext>
            </a:extLst>
          </p:cNvPr>
          <p:cNvSpPr/>
          <p:nvPr userDrawn="1"/>
        </p:nvSpPr>
        <p:spPr>
          <a:xfrm>
            <a:off x="0" y="-1"/>
            <a:ext cx="12193200" cy="6858000"/>
          </a:xfrm>
          <a:prstGeom prst="rect">
            <a:avLst/>
          </a:prstGeom>
          <a:solidFill>
            <a:srgbClr val="14430F"/>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kkal Majalla"/>
              <a:ea typeface="+mn-ea"/>
              <a:cs typeface="Sakkal Majalla"/>
            </a:endParaRPr>
          </a:p>
        </p:txBody>
      </p:sp>
      <p:sp>
        <p:nvSpPr>
          <p:cNvPr id="5" name="Title 12">
            <a:extLst>
              <a:ext uri="{FF2B5EF4-FFF2-40B4-BE49-F238E27FC236}">
                <a16:creationId xmlns:a16="http://schemas.microsoft.com/office/drawing/2014/main" id="{A2E52EBB-3144-4007-97A4-DFDB34DE2749}"/>
              </a:ext>
            </a:extLst>
          </p:cNvPr>
          <p:cNvSpPr txBox="1">
            <a:spLocks/>
          </p:cNvSpPr>
          <p:nvPr userDrawn="1"/>
        </p:nvSpPr>
        <p:spPr>
          <a:xfrm>
            <a:off x="757110" y="1"/>
            <a:ext cx="9968556" cy="1258894"/>
          </a:xfrm>
          <a:prstGeom prst="rect">
            <a:avLst/>
          </a:prstGeom>
        </p:spPr>
        <p:txBody>
          <a:bodyPr vert="horz" wrap="square" lIns="0" tIns="0" rIns="0" bIns="0" rtlCol="0" anchor="ctr">
            <a:noAutofit/>
          </a:bodyPr>
          <a:lstStyle>
            <a:lvl1pPr algn="r" defTabSz="914400" rtl="1"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Sakkal Majalla" panose="02000000000000000000" pitchFamily="2" charset="-78"/>
              <a:ea typeface="+mj-ea"/>
              <a:cs typeface="Sakkal Majalla"/>
            </a:endParaRPr>
          </a:p>
        </p:txBody>
      </p:sp>
      <p:sp>
        <p:nvSpPr>
          <p:cNvPr id="10" name="Title 2">
            <a:extLst>
              <a:ext uri="{FF2B5EF4-FFF2-40B4-BE49-F238E27FC236}">
                <a16:creationId xmlns:a16="http://schemas.microsoft.com/office/drawing/2014/main" id="{E359C8D1-645E-E247-BF99-9550543DE20D}"/>
              </a:ext>
            </a:extLst>
          </p:cNvPr>
          <p:cNvSpPr>
            <a:spLocks noGrp="1"/>
          </p:cNvSpPr>
          <p:nvPr>
            <p:ph type="title" hasCustomPrompt="1"/>
          </p:nvPr>
        </p:nvSpPr>
        <p:spPr>
          <a:xfrm>
            <a:off x="6410248" y="3264492"/>
            <a:ext cx="4474015" cy="643050"/>
          </a:xfrm>
          <a:prstGeom prst="rect">
            <a:avLst/>
          </a:prstGeom>
        </p:spPr>
        <p:txBody>
          <a:bodyPr>
            <a:noAutofit/>
          </a:bodyPr>
          <a:lstStyle>
            <a:lvl1pPr algn="r" rtl="1">
              <a:defRPr sz="3500" b="1">
                <a:solidFill>
                  <a:schemeClr val="bg1"/>
                </a:solidFill>
                <a:latin typeface="Sakkal Majalla" panose="02000000000000000000" pitchFamily="2" charset="-78"/>
                <a:cs typeface="Sakkal Majalla" panose="02000000000000000000" pitchFamily="2" charset="-78"/>
              </a:defRPr>
            </a:lvl1pPr>
          </a:lstStyle>
          <a:p>
            <a:r>
              <a:rPr lang="ar-SA" dirty="0"/>
              <a:t>فاصل رئيسي</a:t>
            </a:r>
            <a:endParaRPr lang="en-SA" dirty="0"/>
          </a:p>
        </p:txBody>
      </p:sp>
      <p:sp>
        <p:nvSpPr>
          <p:cNvPr id="12" name="Slide Number Placeholder 2">
            <a:extLst>
              <a:ext uri="{FF2B5EF4-FFF2-40B4-BE49-F238E27FC236}">
                <a16:creationId xmlns:a16="http://schemas.microsoft.com/office/drawing/2014/main" id="{9975BF1D-547A-4B83-BDB9-9E7EE620E415}"/>
              </a:ext>
            </a:extLst>
          </p:cNvPr>
          <p:cNvSpPr>
            <a:spLocks noGrp="1"/>
          </p:cNvSpPr>
          <p:nvPr>
            <p:ph type="sldNum" sz="quarter" idx="4"/>
          </p:nvPr>
        </p:nvSpPr>
        <p:spPr>
          <a:xfrm>
            <a:off x="203842" y="6484196"/>
            <a:ext cx="2743200" cy="365125"/>
          </a:xfrm>
          <a:prstGeom prst="rect">
            <a:avLst/>
          </a:prstGeom>
          <a:ln>
            <a:noFill/>
          </a:ln>
        </p:spPr>
        <p:txBody>
          <a:bodyPr vert="horz" lIns="91440" tIns="45720" rIns="91440" bIns="45720" rtlCol="0" anchor="ctr"/>
          <a:lstStyle>
            <a:lvl1pPr algn="l" rtl="1">
              <a:defRPr sz="1200">
                <a:solidFill>
                  <a:schemeClr val="bg1"/>
                </a:solidFill>
              </a:defRPr>
            </a:lvl1pPr>
          </a:lstStyle>
          <a:p>
            <a:fld id="{E75C2C89-F887-4946-9289-77479B29E3CB}" type="slidenum">
              <a:rPr lang="en-US" smtClean="0"/>
              <a:pPr/>
              <a:t>‹#›</a:t>
            </a:fld>
            <a:endParaRPr lang="en-US"/>
          </a:p>
        </p:txBody>
      </p:sp>
      <p:cxnSp>
        <p:nvCxnSpPr>
          <p:cNvPr id="13" name="Straight Connector 12">
            <a:extLst>
              <a:ext uri="{FF2B5EF4-FFF2-40B4-BE49-F238E27FC236}">
                <a16:creationId xmlns:a16="http://schemas.microsoft.com/office/drawing/2014/main" id="{D8060F16-2CC7-4B51-9DF9-6843D117EBC7}"/>
              </a:ext>
            </a:extLst>
          </p:cNvPr>
          <p:cNvCxnSpPr/>
          <p:nvPr userDrawn="1"/>
        </p:nvCxnSpPr>
        <p:spPr>
          <a:xfrm>
            <a:off x="529872" y="6545987"/>
            <a:ext cx="0" cy="2502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E2D743F-9EC1-6B1A-15EF-F1A7A522D337}"/>
              </a:ext>
            </a:extLst>
          </p:cNvPr>
          <p:cNvPicPr>
            <a:picLocks noChangeAspect="1"/>
          </p:cNvPicPr>
          <p:nvPr userDrawn="1"/>
        </p:nvPicPr>
        <p:blipFill rotWithShape="1">
          <a:blip r:embed="rId2"/>
          <a:srcRect l="50000"/>
          <a:stretch/>
        </p:blipFill>
        <p:spPr>
          <a:xfrm>
            <a:off x="0" y="272003"/>
            <a:ext cx="3065417" cy="6132431"/>
          </a:xfrm>
          <a:prstGeom prst="rect">
            <a:avLst/>
          </a:prstGeom>
        </p:spPr>
      </p:pic>
      <p:sp>
        <p:nvSpPr>
          <p:cNvPr id="4" name="Freeform 35">
            <a:extLst>
              <a:ext uri="{FF2B5EF4-FFF2-40B4-BE49-F238E27FC236}">
                <a16:creationId xmlns:a16="http://schemas.microsoft.com/office/drawing/2014/main" id="{F90B8A3B-6BF4-8C49-B3F8-F6DB6F0E481E}"/>
              </a:ext>
            </a:extLst>
          </p:cNvPr>
          <p:cNvSpPr/>
          <p:nvPr userDrawn="1"/>
        </p:nvSpPr>
        <p:spPr>
          <a:xfrm rot="16200000" flipV="1">
            <a:off x="8478496" y="1186066"/>
            <a:ext cx="3242450" cy="4799903"/>
          </a:xfrm>
          <a:custGeom>
            <a:avLst/>
            <a:gdLst>
              <a:gd name="connsiteX0" fmla="*/ 3923589 w 4170340"/>
              <a:gd name="connsiteY0" fmla="*/ 6173396 h 6173489"/>
              <a:gd name="connsiteX1" fmla="*/ 4159257 w 4170340"/>
              <a:gd name="connsiteY1" fmla="*/ 5595059 h 6173489"/>
              <a:gd name="connsiteX2" fmla="*/ 4170166 w 4170340"/>
              <a:gd name="connsiteY2" fmla="*/ 172001 h 6173489"/>
              <a:gd name="connsiteX3" fmla="*/ 4170340 w 4170340"/>
              <a:gd name="connsiteY3" fmla="*/ 0 h 6173489"/>
              <a:gd name="connsiteX4" fmla="*/ 13430 w 4170340"/>
              <a:gd name="connsiteY4" fmla="*/ 0 h 6173489"/>
              <a:gd name="connsiteX5" fmla="*/ 11731 w 4170340"/>
              <a:gd name="connsiteY5" fmla="*/ 512653 h 6173489"/>
              <a:gd name="connsiteX6" fmla="*/ 0 w 4170340"/>
              <a:gd name="connsiteY6" fmla="*/ 4078098 h 6173489"/>
              <a:gd name="connsiteX7" fmla="*/ 12513 w 4170340"/>
              <a:gd name="connsiteY7" fmla="*/ 4532639 h 6173489"/>
              <a:gd name="connsiteX8" fmla="*/ 317825 w 4170340"/>
              <a:gd name="connsiteY8" fmla="*/ 4826799 h 6173489"/>
              <a:gd name="connsiteX9" fmla="*/ 3725062 w 4170340"/>
              <a:gd name="connsiteY9" fmla="*/ 6127834 h 6173489"/>
              <a:gd name="connsiteX10" fmla="*/ 3923589 w 4170340"/>
              <a:gd name="connsiteY10" fmla="*/ 6173396 h 617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0340" h="6173489">
                <a:moveTo>
                  <a:pt x="3923589" y="6173396"/>
                </a:moveTo>
                <a:cubicBezTo>
                  <a:pt x="4154894" y="6167385"/>
                  <a:pt x="4162307" y="5873475"/>
                  <a:pt x="4159257" y="5595059"/>
                </a:cubicBezTo>
                <a:cubicBezTo>
                  <a:pt x="4153626" y="3757339"/>
                  <a:pt x="4166530" y="1979907"/>
                  <a:pt x="4170166" y="172001"/>
                </a:cubicBezTo>
                <a:lnTo>
                  <a:pt x="4170340" y="0"/>
                </a:lnTo>
                <a:lnTo>
                  <a:pt x="13430" y="0"/>
                </a:lnTo>
                <a:lnTo>
                  <a:pt x="11731" y="512653"/>
                </a:lnTo>
                <a:cubicBezTo>
                  <a:pt x="7821" y="1686211"/>
                  <a:pt x="3911" y="2836620"/>
                  <a:pt x="0" y="4078098"/>
                </a:cubicBezTo>
                <a:cubicBezTo>
                  <a:pt x="11262" y="4379300"/>
                  <a:pt x="-7508" y="4394164"/>
                  <a:pt x="12513" y="4532639"/>
                </a:cubicBezTo>
                <a:cubicBezTo>
                  <a:pt x="54222" y="4650773"/>
                  <a:pt x="81333" y="4747001"/>
                  <a:pt x="317825" y="4826799"/>
                </a:cubicBezTo>
                <a:lnTo>
                  <a:pt x="3725062" y="6127834"/>
                </a:lnTo>
                <a:cubicBezTo>
                  <a:pt x="3804910" y="6160839"/>
                  <a:pt x="3870211" y="6174784"/>
                  <a:pt x="3923589" y="6173396"/>
                </a:cubicBezTo>
                <a:close/>
              </a:path>
            </a:pathLst>
          </a:custGeom>
          <a:noFill/>
          <a:ln w="158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E"/>
          </a:p>
        </p:txBody>
      </p:sp>
      <p:grpSp>
        <p:nvGrpSpPr>
          <p:cNvPr id="7" name="Group 6">
            <a:extLst>
              <a:ext uri="{FF2B5EF4-FFF2-40B4-BE49-F238E27FC236}">
                <a16:creationId xmlns:a16="http://schemas.microsoft.com/office/drawing/2014/main" id="{B0E4A3F7-4A89-A0FB-F216-7AD48A23667E}"/>
              </a:ext>
            </a:extLst>
          </p:cNvPr>
          <p:cNvGrpSpPr/>
          <p:nvPr userDrawn="1"/>
        </p:nvGrpSpPr>
        <p:grpSpPr>
          <a:xfrm>
            <a:off x="11535153" y="2453658"/>
            <a:ext cx="703027" cy="2264718"/>
            <a:chOff x="5169533" y="6174747"/>
            <a:chExt cx="1072725" cy="3455656"/>
          </a:xfrm>
        </p:grpSpPr>
        <p:sp>
          <p:nvSpPr>
            <p:cNvPr id="8" name="Freeform 28">
              <a:extLst>
                <a:ext uri="{FF2B5EF4-FFF2-40B4-BE49-F238E27FC236}">
                  <a16:creationId xmlns:a16="http://schemas.microsoft.com/office/drawing/2014/main" id="{DD50F222-5618-4785-F511-F1F44EA1E0F8}"/>
                </a:ext>
              </a:extLst>
            </p:cNvPr>
            <p:cNvSpPr/>
            <p:nvPr/>
          </p:nvSpPr>
          <p:spPr>
            <a:xfrm rot="10800000">
              <a:off x="5169534" y="6174747"/>
              <a:ext cx="1072724" cy="3455656"/>
            </a:xfrm>
            <a:custGeom>
              <a:avLst/>
              <a:gdLst>
                <a:gd name="connsiteX0" fmla="*/ 230795 w 3889612"/>
                <a:gd name="connsiteY0" fmla="*/ 12529843 h 12529930"/>
                <a:gd name="connsiteX1" fmla="*/ 11030 w 3889612"/>
                <a:gd name="connsiteY1" fmla="*/ 11990534 h 12529930"/>
                <a:gd name="connsiteX2" fmla="*/ 11474 w 3889612"/>
                <a:gd name="connsiteY2" fmla="*/ 10313680 h 12529930"/>
                <a:gd name="connsiteX3" fmla="*/ 11135 w 3889612"/>
                <a:gd name="connsiteY3" fmla="*/ 10306957 h 12529930"/>
                <a:gd name="connsiteX4" fmla="*/ 11030 w 3889612"/>
                <a:gd name="connsiteY4" fmla="*/ 10187133 h 12529930"/>
                <a:gd name="connsiteX5" fmla="*/ 11039 w 3889612"/>
                <a:gd name="connsiteY5" fmla="*/ 10153073 h 12529930"/>
                <a:gd name="connsiteX6" fmla="*/ 6169 w 3889612"/>
                <a:gd name="connsiteY6" fmla="*/ 8613001 h 12529930"/>
                <a:gd name="connsiteX7" fmla="*/ 857 w 3889612"/>
                <a:gd name="connsiteY7" fmla="*/ 6933434 h 12529930"/>
                <a:gd name="connsiteX8" fmla="*/ 1298 w 3889612"/>
                <a:gd name="connsiteY8" fmla="*/ 5269356 h 12529930"/>
                <a:gd name="connsiteX9" fmla="*/ 857 w 3889612"/>
                <a:gd name="connsiteY9" fmla="*/ 5130034 h 12529930"/>
                <a:gd name="connsiteX10" fmla="*/ 2 w 3889612"/>
                <a:gd name="connsiteY10" fmla="*/ 4284322 h 12529930"/>
                <a:gd name="connsiteX11" fmla="*/ 548 w 3889612"/>
                <a:gd name="connsiteY11" fmla="*/ 3927532 h 12529930"/>
                <a:gd name="connsiteX12" fmla="*/ 0 w 3889612"/>
                <a:gd name="connsiteY12" fmla="*/ 3757389 h 12529930"/>
                <a:gd name="connsiteX13" fmla="*/ 859 w 3889612"/>
                <a:gd name="connsiteY13" fmla="*/ 3724072 h 12529930"/>
                <a:gd name="connsiteX14" fmla="*/ 961 w 3889612"/>
                <a:gd name="connsiteY14" fmla="*/ 3657600 h 12529930"/>
                <a:gd name="connsiteX15" fmla="*/ 2574 w 3889612"/>
                <a:gd name="connsiteY15" fmla="*/ 3657600 h 12529930"/>
                <a:gd name="connsiteX16" fmla="*/ 4722 w 3889612"/>
                <a:gd name="connsiteY16" fmla="*/ 3574296 h 12529930"/>
                <a:gd name="connsiteX17" fmla="*/ 5135 w 3889612"/>
                <a:gd name="connsiteY17" fmla="*/ 3537369 h 12529930"/>
                <a:gd name="connsiteX18" fmla="*/ 4376 w 3889612"/>
                <a:gd name="connsiteY18" fmla="*/ 3309284 h 12529930"/>
                <a:gd name="connsiteX19" fmla="*/ 0 w 3889612"/>
                <a:gd name="connsiteY19" fmla="*/ 1953989 h 12529930"/>
                <a:gd name="connsiteX20" fmla="*/ 18670 w 3889612"/>
                <a:gd name="connsiteY20" fmla="*/ 1424337 h 12529930"/>
                <a:gd name="connsiteX21" fmla="*/ 296378 w 3889612"/>
                <a:gd name="connsiteY21" fmla="*/ 1255812 h 12529930"/>
                <a:gd name="connsiteX22" fmla="*/ 3473688 w 3889612"/>
                <a:gd name="connsiteY22" fmla="*/ 42574 h 12529930"/>
                <a:gd name="connsiteX23" fmla="*/ 3658817 w 3889612"/>
                <a:gd name="connsiteY23" fmla="*/ 87 h 12529930"/>
                <a:gd name="connsiteX24" fmla="*/ 3878582 w 3889612"/>
                <a:gd name="connsiteY24" fmla="*/ 539396 h 12529930"/>
                <a:gd name="connsiteX25" fmla="*/ 3878138 w 3889612"/>
                <a:gd name="connsiteY25" fmla="*/ 2216250 h 12529930"/>
                <a:gd name="connsiteX26" fmla="*/ 3878477 w 3889612"/>
                <a:gd name="connsiteY26" fmla="*/ 2222973 h 12529930"/>
                <a:gd name="connsiteX27" fmla="*/ 3878582 w 3889612"/>
                <a:gd name="connsiteY27" fmla="*/ 2342797 h 12529930"/>
                <a:gd name="connsiteX28" fmla="*/ 3878573 w 3889612"/>
                <a:gd name="connsiteY28" fmla="*/ 2376857 h 12529930"/>
                <a:gd name="connsiteX29" fmla="*/ 3883443 w 3889612"/>
                <a:gd name="connsiteY29" fmla="*/ 3916929 h 12529930"/>
                <a:gd name="connsiteX30" fmla="*/ 3888755 w 3889612"/>
                <a:gd name="connsiteY30" fmla="*/ 5596496 h 12529930"/>
                <a:gd name="connsiteX31" fmla="*/ 3888314 w 3889612"/>
                <a:gd name="connsiteY31" fmla="*/ 7260574 h 12529930"/>
                <a:gd name="connsiteX32" fmla="*/ 3888755 w 3889612"/>
                <a:gd name="connsiteY32" fmla="*/ 7399896 h 12529930"/>
                <a:gd name="connsiteX33" fmla="*/ 3889610 w 3889612"/>
                <a:gd name="connsiteY33" fmla="*/ 8245608 h 12529930"/>
                <a:gd name="connsiteX34" fmla="*/ 3889064 w 3889612"/>
                <a:gd name="connsiteY34" fmla="*/ 8602399 h 12529930"/>
                <a:gd name="connsiteX35" fmla="*/ 3889612 w 3889612"/>
                <a:gd name="connsiteY35" fmla="*/ 8772541 h 12529930"/>
                <a:gd name="connsiteX36" fmla="*/ 3888752 w 3889612"/>
                <a:gd name="connsiteY36" fmla="*/ 8805858 h 12529930"/>
                <a:gd name="connsiteX37" fmla="*/ 3888651 w 3889612"/>
                <a:gd name="connsiteY37" fmla="*/ 8872330 h 12529930"/>
                <a:gd name="connsiteX38" fmla="*/ 3887038 w 3889612"/>
                <a:gd name="connsiteY38" fmla="*/ 8872330 h 12529930"/>
                <a:gd name="connsiteX39" fmla="*/ 3884890 w 3889612"/>
                <a:gd name="connsiteY39" fmla="*/ 8955634 h 12529930"/>
                <a:gd name="connsiteX40" fmla="*/ 3884477 w 3889612"/>
                <a:gd name="connsiteY40" fmla="*/ 8992561 h 12529930"/>
                <a:gd name="connsiteX41" fmla="*/ 3885236 w 3889612"/>
                <a:gd name="connsiteY41" fmla="*/ 9220646 h 12529930"/>
                <a:gd name="connsiteX42" fmla="*/ 3889612 w 3889612"/>
                <a:gd name="connsiteY42" fmla="*/ 10575941 h 12529930"/>
                <a:gd name="connsiteX43" fmla="*/ 3870942 w 3889612"/>
                <a:gd name="connsiteY43" fmla="*/ 11105593 h 12529930"/>
                <a:gd name="connsiteX44" fmla="*/ 3593234 w 3889612"/>
                <a:gd name="connsiteY44" fmla="*/ 11274118 h 12529930"/>
                <a:gd name="connsiteX45" fmla="*/ 415924 w 3889612"/>
                <a:gd name="connsiteY45" fmla="*/ 12487356 h 12529930"/>
                <a:gd name="connsiteX46" fmla="*/ 230795 w 3889612"/>
                <a:gd name="connsiteY46" fmla="*/ 12529843 h 1252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89612" h="12529930">
                  <a:moveTo>
                    <a:pt x="230795" y="12529843"/>
                  </a:moveTo>
                  <a:cubicBezTo>
                    <a:pt x="15099" y="12524238"/>
                    <a:pt x="8186" y="12250161"/>
                    <a:pt x="11030" y="11990534"/>
                  </a:cubicBezTo>
                  <a:lnTo>
                    <a:pt x="11474" y="10313680"/>
                  </a:lnTo>
                  <a:lnTo>
                    <a:pt x="11135" y="10306957"/>
                  </a:lnTo>
                  <a:cubicBezTo>
                    <a:pt x="10386" y="10267361"/>
                    <a:pt x="10593" y="10227076"/>
                    <a:pt x="11030" y="10187133"/>
                  </a:cubicBezTo>
                  <a:lnTo>
                    <a:pt x="11039" y="10153073"/>
                  </a:lnTo>
                  <a:lnTo>
                    <a:pt x="6169" y="8613001"/>
                  </a:lnTo>
                  <a:cubicBezTo>
                    <a:pt x="4078" y="8054213"/>
                    <a:pt x="1987" y="7495402"/>
                    <a:pt x="857" y="6933434"/>
                  </a:cubicBezTo>
                  <a:lnTo>
                    <a:pt x="1298" y="5269356"/>
                  </a:lnTo>
                  <a:lnTo>
                    <a:pt x="857" y="5130034"/>
                  </a:lnTo>
                  <a:cubicBezTo>
                    <a:pt x="292" y="4849050"/>
                    <a:pt x="-33" y="4567276"/>
                    <a:pt x="2" y="4284322"/>
                  </a:cubicBezTo>
                  <a:lnTo>
                    <a:pt x="548" y="3927532"/>
                  </a:lnTo>
                  <a:lnTo>
                    <a:pt x="0" y="3757389"/>
                  </a:lnTo>
                  <a:lnTo>
                    <a:pt x="859" y="3724072"/>
                  </a:lnTo>
                  <a:lnTo>
                    <a:pt x="961" y="3657600"/>
                  </a:lnTo>
                  <a:lnTo>
                    <a:pt x="2574" y="3657600"/>
                  </a:lnTo>
                  <a:lnTo>
                    <a:pt x="4722" y="3574296"/>
                  </a:lnTo>
                  <a:lnTo>
                    <a:pt x="5135" y="3537369"/>
                  </a:lnTo>
                  <a:lnTo>
                    <a:pt x="4376" y="3309284"/>
                  </a:lnTo>
                  <a:cubicBezTo>
                    <a:pt x="2917" y="2866563"/>
                    <a:pt x="1459" y="2417070"/>
                    <a:pt x="0" y="1953989"/>
                  </a:cubicBezTo>
                  <a:cubicBezTo>
                    <a:pt x="10502" y="1673114"/>
                    <a:pt x="0" y="1553468"/>
                    <a:pt x="18670" y="1424337"/>
                  </a:cubicBezTo>
                  <a:cubicBezTo>
                    <a:pt x="64565" y="1356490"/>
                    <a:pt x="75845" y="1330226"/>
                    <a:pt x="296378" y="1255812"/>
                  </a:cubicBezTo>
                  <a:lnTo>
                    <a:pt x="3473688" y="42574"/>
                  </a:lnTo>
                  <a:cubicBezTo>
                    <a:pt x="3548147" y="11797"/>
                    <a:pt x="3609041" y="-1207"/>
                    <a:pt x="3658817" y="87"/>
                  </a:cubicBezTo>
                  <a:cubicBezTo>
                    <a:pt x="3874513" y="5692"/>
                    <a:pt x="3881426" y="279769"/>
                    <a:pt x="3878582" y="539396"/>
                  </a:cubicBezTo>
                  <a:lnTo>
                    <a:pt x="3878138" y="2216250"/>
                  </a:lnTo>
                  <a:lnTo>
                    <a:pt x="3878477" y="2222973"/>
                  </a:lnTo>
                  <a:cubicBezTo>
                    <a:pt x="3879226" y="2262569"/>
                    <a:pt x="3879019" y="2302854"/>
                    <a:pt x="3878582" y="2342797"/>
                  </a:cubicBezTo>
                  <a:lnTo>
                    <a:pt x="3878573" y="2376857"/>
                  </a:lnTo>
                  <a:lnTo>
                    <a:pt x="3883443" y="3916929"/>
                  </a:lnTo>
                  <a:cubicBezTo>
                    <a:pt x="3885534" y="4475717"/>
                    <a:pt x="3887625" y="5034528"/>
                    <a:pt x="3888755" y="5596496"/>
                  </a:cubicBezTo>
                  <a:lnTo>
                    <a:pt x="3888314" y="7260574"/>
                  </a:lnTo>
                  <a:lnTo>
                    <a:pt x="3888755" y="7399896"/>
                  </a:lnTo>
                  <a:cubicBezTo>
                    <a:pt x="3889320" y="7680880"/>
                    <a:pt x="3889645" y="7962654"/>
                    <a:pt x="3889610" y="8245608"/>
                  </a:cubicBezTo>
                  <a:lnTo>
                    <a:pt x="3889064" y="8602399"/>
                  </a:lnTo>
                  <a:lnTo>
                    <a:pt x="3889612" y="8772541"/>
                  </a:lnTo>
                  <a:lnTo>
                    <a:pt x="3888752" y="8805858"/>
                  </a:lnTo>
                  <a:lnTo>
                    <a:pt x="3888651" y="8872330"/>
                  </a:lnTo>
                  <a:lnTo>
                    <a:pt x="3887038" y="8872330"/>
                  </a:lnTo>
                  <a:lnTo>
                    <a:pt x="3884890" y="8955634"/>
                  </a:lnTo>
                  <a:lnTo>
                    <a:pt x="3884477" y="8992561"/>
                  </a:lnTo>
                  <a:lnTo>
                    <a:pt x="3885236" y="9220646"/>
                  </a:lnTo>
                  <a:cubicBezTo>
                    <a:pt x="3886695" y="9663367"/>
                    <a:pt x="3888153" y="10112860"/>
                    <a:pt x="3889612" y="10575941"/>
                  </a:cubicBezTo>
                  <a:cubicBezTo>
                    <a:pt x="3879110" y="10856816"/>
                    <a:pt x="3889612" y="10976462"/>
                    <a:pt x="3870942" y="11105593"/>
                  </a:cubicBezTo>
                  <a:cubicBezTo>
                    <a:pt x="3825047" y="11173440"/>
                    <a:pt x="3813767" y="11199704"/>
                    <a:pt x="3593234" y="11274118"/>
                  </a:cubicBezTo>
                  <a:lnTo>
                    <a:pt x="415924" y="12487356"/>
                  </a:lnTo>
                  <a:cubicBezTo>
                    <a:pt x="341465" y="12518133"/>
                    <a:pt x="280571" y="12531137"/>
                    <a:pt x="230795" y="12529843"/>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E"/>
            </a:p>
          </p:txBody>
        </p:sp>
        <p:pic>
          <p:nvPicPr>
            <p:cNvPr id="9" name="Picture 8" descr="A gold star on a black background&#10;&#10;Description automatically generated">
              <a:extLst>
                <a:ext uri="{FF2B5EF4-FFF2-40B4-BE49-F238E27FC236}">
                  <a16:creationId xmlns:a16="http://schemas.microsoft.com/office/drawing/2014/main" id="{A613B450-E0E8-1FC0-229F-42B4ED9EF3D9}"/>
                </a:ext>
              </a:extLst>
            </p:cNvPr>
            <p:cNvPicPr>
              <a:picLocks noChangeAspect="1"/>
            </p:cNvPicPr>
            <p:nvPr/>
          </p:nvPicPr>
          <p:blipFill rotWithShape="1">
            <a:blip r:embed="rId3" cstate="screen">
              <a:biLevel thresh="75000"/>
              <a:alphaModFix amt="18000"/>
              <a:extLst>
                <a:ext uri="{28A0092B-C50C-407E-A947-70E740481C1C}">
                  <a14:useLocalDpi xmlns:a14="http://schemas.microsoft.com/office/drawing/2010/main"/>
                </a:ext>
              </a:extLst>
            </a:blip>
            <a:srcRect l="2580" r="50000"/>
            <a:stretch/>
          </p:blipFill>
          <p:spPr>
            <a:xfrm>
              <a:off x="5169533" y="6671984"/>
              <a:ext cx="1072725" cy="2461182"/>
            </a:xfrm>
            <a:prstGeom prst="rect">
              <a:avLst/>
            </a:prstGeom>
          </p:spPr>
        </p:pic>
      </p:grpSp>
    </p:spTree>
    <p:extLst>
      <p:ext uri="{BB962C8B-B14F-4D97-AF65-F5344CB8AC3E}">
        <p14:creationId xmlns:p14="http://schemas.microsoft.com/office/powerpoint/2010/main" val="2359285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heme" Target="../theme/theme2.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C4CC47-C4B9-41B0-A52F-F1672BD21E03}"/>
              </a:ext>
            </a:extLst>
          </p:cNvPr>
          <p:cNvGraphicFramePr>
            <a:graphicFrameLocks noChangeAspect="1"/>
          </p:cNvGraphicFramePr>
          <p:nvPr userDrawn="1">
            <p:custDataLst>
              <p:tags r:id="rId8"/>
            </p:custDataLst>
            <p:extLst>
              <p:ext uri="{D42A27DB-BD31-4B8C-83A1-F6EECF244321}">
                <p14:modId xmlns:p14="http://schemas.microsoft.com/office/powerpoint/2010/main" val="380225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1" imgH="398" progId="TCLayout.ActiveDocument.1">
                  <p:embed/>
                </p:oleObj>
              </mc:Choice>
              <mc:Fallback>
                <p:oleObj name="think-cell Slide" r:id="rId9" imgW="401" imgH="398" progId="TCLayout.ActiveDocument.1">
                  <p:embed/>
                  <p:pic>
                    <p:nvPicPr>
                      <p:cNvPr id="5" name="Object 4" hidden="1">
                        <a:extLst>
                          <a:ext uri="{FF2B5EF4-FFF2-40B4-BE49-F238E27FC236}">
                            <a16:creationId xmlns:a16="http://schemas.microsoft.com/office/drawing/2014/main" id="{18C4CC47-C4B9-41B0-A52F-F1672BD21E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B2E6A1D-84AD-E64F-B9AD-7D7CC59F5D0B}"/>
              </a:ext>
            </a:extLst>
          </p:cNvPr>
          <p:cNvSpPr>
            <a:spLocks noGrp="1"/>
          </p:cNvSpPr>
          <p:nvPr>
            <p:ph type="title"/>
          </p:nvPr>
        </p:nvSpPr>
        <p:spPr>
          <a:xfrm>
            <a:off x="515947" y="499949"/>
            <a:ext cx="11160110" cy="643050"/>
          </a:xfrm>
          <a:prstGeom prst="rect">
            <a:avLst/>
          </a:prstGeom>
        </p:spPr>
        <p:txBody>
          <a:bodyPr vert="horz" wrap="square" lIns="0" tIns="0" rIns="0" bIns="0" rtlCol="0" anchor="ctr" anchorCtr="0">
            <a:noAutofit/>
          </a:bodyPr>
          <a:lstStyle/>
          <a:p>
            <a:pPr lvl="0"/>
            <a:r>
              <a:rPr lang="ar-SA"/>
              <a:t>العنوان الرئيسي</a:t>
            </a:r>
            <a:endParaRPr lang="en-US"/>
          </a:p>
        </p:txBody>
      </p:sp>
      <p:sp>
        <p:nvSpPr>
          <p:cNvPr id="7" name="Text Placeholder 6">
            <a:extLst>
              <a:ext uri="{FF2B5EF4-FFF2-40B4-BE49-F238E27FC236}">
                <a16:creationId xmlns:a16="http://schemas.microsoft.com/office/drawing/2014/main" id="{FABCE4F3-DAA6-421F-9E83-A01813AFE4B0}"/>
              </a:ext>
            </a:extLst>
          </p:cNvPr>
          <p:cNvSpPr>
            <a:spLocks noGrp="1"/>
          </p:cNvSpPr>
          <p:nvPr>
            <p:ph type="body" idx="1"/>
          </p:nvPr>
        </p:nvSpPr>
        <p:spPr>
          <a:xfrm>
            <a:off x="515946" y="1300480"/>
            <a:ext cx="11160110" cy="5008245"/>
          </a:xfrm>
          <a:prstGeom prst="rect">
            <a:avLst/>
          </a:prstGeom>
        </p:spPr>
        <p:txBody>
          <a:bodyPr vert="horz" lIns="0" tIns="0" rIns="0" bIns="0" rtlCol="0">
            <a:normAutofit/>
          </a:bodyPr>
          <a:lstStyle/>
          <a:p>
            <a:pPr lvl="0"/>
            <a:r>
              <a:rPr lang="en-US" noProof="0"/>
              <a:t>Click to edit Master text styles</a:t>
            </a:r>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US"/>
          </a:p>
        </p:txBody>
      </p:sp>
      <p:cxnSp>
        <p:nvCxnSpPr>
          <p:cNvPr id="8" name="Straight Connector 7">
            <a:extLst>
              <a:ext uri="{FF2B5EF4-FFF2-40B4-BE49-F238E27FC236}">
                <a16:creationId xmlns:a16="http://schemas.microsoft.com/office/drawing/2014/main" id="{FBF64D71-BC49-4230-94DA-5873236ED08B}"/>
              </a:ext>
            </a:extLst>
          </p:cNvPr>
          <p:cNvCxnSpPr/>
          <p:nvPr userDrawn="1"/>
        </p:nvCxnSpPr>
        <p:spPr>
          <a:xfrm>
            <a:off x="11676063" y="6545987"/>
            <a:ext cx="0" cy="250219"/>
          </a:xfrm>
          <a:prstGeom prst="line">
            <a:avLst/>
          </a:prstGeom>
          <a:ln>
            <a:solidFill>
              <a:srgbClr val="14430F"/>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9FF1DA-57D8-40B7-8421-03BD7339C3BA}"/>
              </a:ext>
            </a:extLst>
          </p:cNvPr>
          <p:cNvSpPr txBox="1"/>
          <p:nvPr userDrawn="1"/>
        </p:nvSpPr>
        <p:spPr>
          <a:xfrm>
            <a:off x="11729212" y="6631208"/>
            <a:ext cx="265176"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1200" b="0" smtClean="0">
                <a:solidFill>
                  <a:srgbClr val="101010"/>
                </a:solidFill>
                <a:latin typeface="Georgia Pro" panose="02040502050405020303" pitchFamily="18" charset="0"/>
                <a:cs typeface="Sakkal Majalla" panose="02000000000000000000" pitchFamily="2" charset="-78"/>
                <a:sym typeface="Georgia Pro" panose="02040502050405020303" pitchFamily="18" charset="0"/>
              </a:rPr>
              <a:pPr algn="r"/>
              <a:t>‹#›</a:t>
            </a:fld>
            <a:endParaRPr lang="en-US" sz="900" b="0" dirty="0">
              <a:solidFill>
                <a:srgbClr val="101010"/>
              </a:solidFill>
              <a:latin typeface="Georgia Pro" panose="02040502050405020303" pitchFamily="18" charset="0"/>
              <a:cs typeface="Sakkal Majalla" panose="02000000000000000000" pitchFamily="2" charset="-78"/>
              <a:sym typeface="Georgia Pro" panose="02040502050405020303" pitchFamily="18" charset="0"/>
            </a:endParaRPr>
          </a:p>
        </p:txBody>
      </p:sp>
    </p:spTree>
    <p:extLst>
      <p:ext uri="{BB962C8B-B14F-4D97-AF65-F5344CB8AC3E}">
        <p14:creationId xmlns:p14="http://schemas.microsoft.com/office/powerpoint/2010/main" val="46234739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7" r:id="rId6"/>
  </p:sldLayoutIdLst>
  <p:hf sldNum="0" hdr="0" dt="0"/>
  <p:txStyles>
    <p:titleStyle>
      <a:lvl1pPr marL="0" indent="0" algn="r" defTabSz="914400" rtl="1" eaLnBrk="1" latinLnBrk="0" hangingPunct="1">
        <a:lnSpc>
          <a:spcPct val="90000"/>
        </a:lnSpc>
        <a:spcBef>
          <a:spcPct val="0"/>
        </a:spcBef>
        <a:spcAft>
          <a:spcPts val="0"/>
        </a:spcAft>
        <a:buNone/>
        <a:defRPr sz="4000" b="1" i="0" u="none" kern="1200" spc="0">
          <a:solidFill>
            <a:schemeClr val="tx2"/>
          </a:solidFill>
          <a:latin typeface="Georgia Pro" panose="02040502050405020303" pitchFamily="18" charset="0"/>
          <a:ea typeface="+mj-ea"/>
          <a:cs typeface="+mj-cs"/>
          <a:sym typeface="Georgia Pro" panose="02040502050405020303" pitchFamily="18" charset="0"/>
        </a:defRPr>
      </a:lvl1pPr>
    </p:titleStyle>
    <p:bodyStyle>
      <a:lvl1pPr marL="0" indent="0" algn="r" defTabSz="914400" rtl="1" eaLnBrk="1" latinLnBrk="0" hangingPunct="1">
        <a:lnSpc>
          <a:spcPct val="90000"/>
        </a:lnSpc>
        <a:spcBef>
          <a:spcPts val="1000"/>
        </a:spcBef>
        <a:buFont typeface="Arial" panose="020B0604020202020204" pitchFamily="34" charset="0"/>
        <a:buNone/>
        <a:defRPr sz="3200" b="1" i="0" kern="1200">
          <a:solidFill>
            <a:schemeClr val="bg2">
              <a:lumMod val="10000"/>
            </a:schemeClr>
          </a:solidFill>
          <a:latin typeface="Georgia Pro" panose="02040502050405020303" pitchFamily="18" charset="0"/>
          <a:ea typeface="+mn-ea"/>
          <a:cs typeface="+mn-cs"/>
          <a:sym typeface="Georgia Pro" panose="02040502050405020303" pitchFamily="18" charset="0"/>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Georgia Pro" panose="02040502050405020303" pitchFamily="18" charset="0"/>
          <a:ea typeface="+mn-ea"/>
          <a:cs typeface="+mn-cs"/>
          <a:sym typeface="Georgia Pro" panose="02040502050405020303" pitchFamily="18" charset="0"/>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Georgia Pro" panose="02040502050405020303" pitchFamily="18" charset="0"/>
          <a:ea typeface="+mn-ea"/>
          <a:cs typeface="+mn-cs"/>
          <a:sym typeface="Georgia Pro" panose="02040502050405020303" pitchFamily="18" charset="0"/>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Georgia Pro" panose="02040502050405020303" pitchFamily="18" charset="0"/>
          <a:ea typeface="+mn-ea"/>
          <a:cs typeface="+mn-cs"/>
          <a:sym typeface="Georgia Pro" panose="02040502050405020303" pitchFamily="18" charset="0"/>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Georgia Pro" panose="02040502050405020303" pitchFamily="18" charset="0"/>
          <a:ea typeface="+mn-ea"/>
          <a:cs typeface="+mn-cs"/>
          <a:sym typeface="Georgia Pro" panose="02040502050405020303"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2">
          <p15:clr>
            <a:srgbClr val="FF9696"/>
          </p15:clr>
        </p15:guide>
        <p15:guide id="2" orient="horz" pos="686">
          <p15:clr>
            <a:srgbClr val="FF9696"/>
          </p15:clr>
        </p15:guide>
        <p15:guide id="3" orient="horz" pos="958">
          <p15:clr>
            <a:srgbClr val="FF9696"/>
          </p15:clr>
        </p15:guide>
        <p15:guide id="4" orient="horz" pos="1185">
          <p15:clr>
            <a:srgbClr val="FF9696"/>
          </p15:clr>
        </p15:guide>
        <p15:guide id="5" orient="horz" pos="3566">
          <p15:clr>
            <a:srgbClr val="FF9696"/>
          </p15:clr>
        </p15:guide>
        <p15:guide id="6" orient="horz" pos="3612">
          <p15:clr>
            <a:srgbClr val="FF9696"/>
          </p15:clr>
        </p15:guide>
        <p15:guide id="7" orient="horz" pos="4017">
          <p15:clr>
            <a:srgbClr val="FF9696"/>
          </p15:clr>
        </p15:guide>
        <p15:guide id="8" pos="325">
          <p15:clr>
            <a:srgbClr val="FF9696"/>
          </p15:clr>
        </p15:guide>
        <p15:guide id="9" pos="3613">
          <p15:clr>
            <a:srgbClr val="FF9696"/>
          </p15:clr>
        </p15:guide>
        <p15:guide id="10" pos="3840">
          <p15:clr>
            <a:srgbClr val="FF9696"/>
          </p15:clr>
        </p15:guide>
        <p15:guide id="11" pos="4067">
          <p15:clr>
            <a:srgbClr val="FF9696"/>
          </p15:clr>
        </p15:guide>
        <p15:guide id="12" pos="7355">
          <p15:clr>
            <a:srgbClr val="FF9696"/>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2E6A1D-84AD-E64F-B9AD-7D7CC59F5D0B}"/>
              </a:ext>
            </a:extLst>
          </p:cNvPr>
          <p:cNvSpPr>
            <a:spLocks noGrp="1"/>
          </p:cNvSpPr>
          <p:nvPr>
            <p:ph type="title"/>
          </p:nvPr>
        </p:nvSpPr>
        <p:spPr>
          <a:xfrm>
            <a:off x="819148" y="499949"/>
            <a:ext cx="10641016" cy="643050"/>
          </a:xfrm>
          <a:prstGeom prst="rect">
            <a:avLst/>
          </a:prstGeom>
        </p:spPr>
        <p:txBody>
          <a:bodyPr vert="horz" wrap="square" lIns="0" tIns="0" rIns="0" bIns="0" rtlCol="0" anchor="ctr" anchorCtr="0">
            <a:noAutofit/>
          </a:bodyPr>
          <a:lstStyle/>
          <a:p>
            <a:pPr lvl="0"/>
            <a:r>
              <a:rPr lang="ar-SA" dirty="0"/>
              <a:t>العنوان الرئيسي</a:t>
            </a:r>
            <a:endParaRPr lang="en-US" dirty="0"/>
          </a:p>
        </p:txBody>
      </p:sp>
      <p:sp>
        <p:nvSpPr>
          <p:cNvPr id="7" name="Text Placeholder 6">
            <a:extLst>
              <a:ext uri="{FF2B5EF4-FFF2-40B4-BE49-F238E27FC236}">
                <a16:creationId xmlns:a16="http://schemas.microsoft.com/office/drawing/2014/main" id="{FABCE4F3-DAA6-421F-9E83-A01813AFE4B0}"/>
              </a:ext>
            </a:extLst>
          </p:cNvPr>
          <p:cNvSpPr>
            <a:spLocks noGrp="1"/>
          </p:cNvSpPr>
          <p:nvPr>
            <p:ph type="body" idx="1"/>
          </p:nvPr>
        </p:nvSpPr>
        <p:spPr>
          <a:xfrm>
            <a:off x="819147" y="1300480"/>
            <a:ext cx="10641016" cy="5008245"/>
          </a:xfrm>
          <a:prstGeom prst="rect">
            <a:avLst/>
          </a:prstGeom>
        </p:spPr>
        <p:txBody>
          <a:bodyPr vert="horz" lIns="0" tIns="0" rIns="0" bIns="0" rtlCol="0">
            <a:normAutofit/>
          </a:bodyPr>
          <a:lstStyle/>
          <a:p>
            <a:pPr lvl="0"/>
            <a:r>
              <a:rPr lang="ar-SA" noProof="0" dirty="0"/>
              <a:t>اضغط هنا لتعديل النص</a:t>
            </a:r>
            <a:endParaRPr lang="en-US" noProof="0"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US" dirty="0"/>
          </a:p>
        </p:txBody>
      </p:sp>
      <p:sp>
        <p:nvSpPr>
          <p:cNvPr id="4" name="Slide Number Placeholder 2"/>
          <p:cNvSpPr>
            <a:spLocks noGrp="1"/>
          </p:cNvSpPr>
          <p:nvPr>
            <p:ph type="sldNum" sz="quarter" idx="4"/>
          </p:nvPr>
        </p:nvSpPr>
        <p:spPr>
          <a:xfrm>
            <a:off x="203842" y="6484196"/>
            <a:ext cx="2743200" cy="365125"/>
          </a:xfrm>
          <a:prstGeom prst="rect">
            <a:avLst/>
          </a:prstGeom>
        </p:spPr>
        <p:txBody>
          <a:bodyPr vert="horz" lIns="91440" tIns="45720" rIns="91440" bIns="45720" rtlCol="0" anchor="ctr"/>
          <a:lstStyle>
            <a:lvl1pPr algn="l" rtl="1">
              <a:defRPr sz="1200">
                <a:solidFill>
                  <a:schemeClr val="tx1">
                    <a:lumMod val="50000"/>
                  </a:schemeClr>
                </a:solidFill>
              </a:defRPr>
            </a:lvl1pPr>
          </a:lstStyle>
          <a:p>
            <a:fld id="{E75C2C89-F887-4946-9289-77479B29E3CB}" type="slidenum">
              <a:rPr lang="en-US" smtClean="0"/>
              <a:pPr/>
              <a:t>‹#›</a:t>
            </a:fld>
            <a:endParaRPr lang="en-US"/>
          </a:p>
        </p:txBody>
      </p:sp>
    </p:spTree>
    <p:extLst>
      <p:ext uri="{BB962C8B-B14F-4D97-AF65-F5344CB8AC3E}">
        <p14:creationId xmlns:p14="http://schemas.microsoft.com/office/powerpoint/2010/main" val="1773566626"/>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204"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Lst>
  <p:hf hdr="0" ftr="0" dt="0"/>
  <p:txStyles>
    <p:titleStyle>
      <a:lvl1pPr marL="0" indent="0" algn="r" defTabSz="914400" rtl="1" eaLnBrk="1" latinLnBrk="0" hangingPunct="1">
        <a:lnSpc>
          <a:spcPct val="90000"/>
        </a:lnSpc>
        <a:spcBef>
          <a:spcPct val="0"/>
        </a:spcBef>
        <a:spcAft>
          <a:spcPts val="0"/>
        </a:spcAft>
        <a:buNone/>
        <a:defRPr sz="3200" b="1" i="0" u="none" kern="1200" spc="0">
          <a:solidFill>
            <a:schemeClr val="tx2"/>
          </a:solidFill>
          <a:latin typeface="Sakkal Majalla" panose="02000000000000000000" pitchFamily="2" charset="-78"/>
          <a:ea typeface="+mj-ea"/>
          <a:cs typeface="+mj-cs"/>
        </a:defRPr>
      </a:lvl1pPr>
    </p:titleStyle>
    <p:bodyStyle>
      <a:lvl1pPr marL="0" indent="0" algn="r" defTabSz="914400" rtl="1" eaLnBrk="1" latinLnBrk="0" hangingPunct="1">
        <a:lnSpc>
          <a:spcPct val="90000"/>
        </a:lnSpc>
        <a:spcBef>
          <a:spcPts val="1000"/>
        </a:spcBef>
        <a:buFont typeface="Arial" panose="020B0604020202020204" pitchFamily="34" charset="0"/>
        <a:buNone/>
        <a:defRPr sz="2800" b="0" i="0" kern="1200">
          <a:solidFill>
            <a:schemeClr val="bg2">
              <a:lumMod val="10000"/>
            </a:schemeClr>
          </a:solidFill>
          <a:latin typeface="+mn-lt"/>
          <a:ea typeface="+mn-ea"/>
          <a:cs typeface="+mn-cs"/>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mn-lt"/>
          <a:ea typeface="+mn-ea"/>
          <a:cs typeface="+mn-cs"/>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mn-lt"/>
          <a:ea typeface="+mn-ea"/>
          <a:cs typeface="+mn-cs"/>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mn-lt"/>
          <a:ea typeface="+mn-ea"/>
          <a:cs typeface="+mn-cs"/>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5" pos="7350">
          <p15:clr>
            <a:srgbClr val="F26B43"/>
          </p15:clr>
        </p15:guide>
        <p15:guide id="6" pos="327">
          <p15:clr>
            <a:srgbClr val="F26B43"/>
          </p15:clr>
        </p15:guide>
        <p15:guide id="7" orient="horz" pos="312">
          <p15:clr>
            <a:srgbClr val="F26B43"/>
          </p15:clr>
        </p15:guide>
        <p15:guide id="8" orient="horz" pos="4017">
          <p15:clr>
            <a:srgbClr val="F26B43"/>
          </p15:clr>
        </p15:guide>
        <p15:guide id="9" orient="horz" pos="8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mailto:MNGDP@sang.gov.sa" TargetMode="Externa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2234B-D097-1999-DAD1-98D8719F0AEF}"/>
              </a:ext>
            </a:extLst>
          </p:cNvPr>
          <p:cNvSpPr>
            <a:spLocks noGrp="1"/>
          </p:cNvSpPr>
          <p:nvPr>
            <p:ph type="title"/>
          </p:nvPr>
        </p:nvSpPr>
        <p:spPr/>
        <p:txBody>
          <a:bodyPr/>
          <a:lstStyle/>
          <a:p>
            <a:r>
              <a:rPr lang="ar-SA" sz="3200" b="1" dirty="0">
                <a:latin typeface="Roboto"/>
                <a:ea typeface="Roboto"/>
                <a:sym typeface="Roboto"/>
              </a:rPr>
              <a:t>مشروع تنفيذ النظام الالكتروني لإدارة الاستراتيجية</a:t>
            </a:r>
            <a:br>
              <a:rPr lang="ar-LB" sz="3200" b="1" dirty="0">
                <a:latin typeface="Roboto"/>
                <a:ea typeface="Roboto"/>
                <a:sym typeface="Roboto"/>
              </a:rPr>
            </a:br>
            <a:r>
              <a:rPr lang="ar-SA" sz="3200" b="1" dirty="0">
                <a:latin typeface="Roboto"/>
                <a:ea typeface="Roboto"/>
                <a:sym typeface="Roboto"/>
              </a:rPr>
              <a:t>لدى </a:t>
            </a:r>
            <a:r>
              <a:rPr lang="ar-LB" sz="3200" b="1" dirty="0">
                <a:latin typeface="Roboto"/>
                <a:ea typeface="Roboto"/>
                <a:sym typeface="Roboto"/>
              </a:rPr>
              <a:t>برنامج تطوير وزارة الحرس الوطني</a:t>
            </a:r>
            <a:br>
              <a:rPr lang="ar-SA" sz="3200" b="1" dirty="0">
                <a:latin typeface="Roboto"/>
                <a:ea typeface="Roboto"/>
                <a:sym typeface="Roboto"/>
              </a:rPr>
            </a:br>
            <a:endParaRPr lang="en-US" dirty="0"/>
          </a:p>
        </p:txBody>
      </p:sp>
      <p:sp>
        <p:nvSpPr>
          <p:cNvPr id="3" name="Subtitle 2">
            <a:extLst>
              <a:ext uri="{FF2B5EF4-FFF2-40B4-BE49-F238E27FC236}">
                <a16:creationId xmlns:a16="http://schemas.microsoft.com/office/drawing/2014/main" id="{21A9CC25-420B-7EE6-32F3-C7FE982A033C}"/>
              </a:ext>
            </a:extLst>
          </p:cNvPr>
          <p:cNvSpPr>
            <a:spLocks noGrp="1"/>
          </p:cNvSpPr>
          <p:nvPr>
            <p:ph type="subTitle" idx="1"/>
          </p:nvPr>
        </p:nvSpPr>
        <p:spPr/>
        <p:txBody>
          <a:bodyPr/>
          <a:lstStyle/>
          <a:p>
            <a:r>
              <a:rPr lang="ar-SA" dirty="0"/>
              <a:t>دليل المستخدم – المستخدم النهائي</a:t>
            </a:r>
            <a:br>
              <a:rPr lang="ar-SA" dirty="0"/>
            </a:br>
            <a:endParaRPr lang="en-US" dirty="0"/>
          </a:p>
        </p:txBody>
      </p:sp>
    </p:spTree>
    <p:extLst>
      <p:ext uri="{BB962C8B-B14F-4D97-AF65-F5344CB8AC3E}">
        <p14:creationId xmlns:p14="http://schemas.microsoft.com/office/powerpoint/2010/main" val="9443786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86F96-EBF3-A760-305E-C1967B325713}"/>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F4F72942-FE3F-0013-8CE4-41E94DFF5890}"/>
              </a:ext>
            </a:extLst>
          </p:cNvPr>
          <p:cNvSpPr>
            <a:spLocks noGrp="1"/>
          </p:cNvSpPr>
          <p:nvPr>
            <p:ph type="chart" sz="quarter" idx="21"/>
          </p:nvPr>
        </p:nvSpPr>
        <p:spPr>
          <a:xfrm>
            <a:off x="8399248" y="1849120"/>
            <a:ext cx="3493569" cy="4455725"/>
          </a:xfrm>
        </p:spPr>
        <p:txBody>
          <a:bodyPr/>
          <a:lstStyle/>
          <a:p>
            <a:r>
              <a:rPr lang="ar-SA" dirty="0"/>
              <a:t>في هذه الصفحة يعرض النظام جماع المؤشرات المرتبطة بالمستخدم.</a:t>
            </a:r>
          </a:p>
          <a:p>
            <a:pPr marL="342900" indent="-342900">
              <a:buFont typeface="+mj-lt"/>
              <a:buAutoNum type="arabicPeriod"/>
            </a:pPr>
            <a:r>
              <a:rPr lang="ar-SA" dirty="0"/>
              <a:t>نوع المؤشر(مؤشرات الأداء الرئيسية-المستوى الأول مركب , مؤشرات الأداء الرئيسية-المستوى الثاني , مؤشر تشغيلي , النتائج , مؤشر مستوى أول )</a:t>
            </a:r>
          </a:p>
          <a:p>
            <a:pPr marL="342900" indent="-342900">
              <a:buFont typeface="+mj-lt"/>
              <a:buAutoNum type="arabicPeriod"/>
            </a:pPr>
            <a:r>
              <a:rPr lang="ar-SA" dirty="0"/>
              <a:t>حالة المؤشر</a:t>
            </a:r>
          </a:p>
          <a:p>
            <a:pPr marL="342900" indent="-342900">
              <a:buFont typeface="+mj-lt"/>
              <a:buAutoNum type="arabicPeriod"/>
            </a:pPr>
            <a:r>
              <a:rPr lang="ar-SA" dirty="0"/>
              <a:t>نوع الاستراتيجية</a:t>
            </a:r>
          </a:p>
          <a:p>
            <a:pPr marL="342900" indent="-342900">
              <a:buFont typeface="+mj-lt"/>
              <a:buAutoNum type="arabicPeriod"/>
            </a:pPr>
            <a:r>
              <a:rPr lang="ar-SA" dirty="0"/>
              <a:t>بطاقة المؤشر</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B3785F93-E6B1-2D1C-9796-5BE67918EED7}"/>
              </a:ext>
            </a:extLst>
          </p:cNvPr>
          <p:cNvSpPr>
            <a:spLocks noGrp="1"/>
          </p:cNvSpPr>
          <p:nvPr>
            <p:ph type="sldNum" sz="quarter" idx="4"/>
          </p:nvPr>
        </p:nvSpPr>
        <p:spPr/>
        <p:txBody>
          <a:bodyPr/>
          <a:lstStyle/>
          <a:p>
            <a:fld id="{E75C2C89-F887-4946-9289-77479B29E3CB}" type="slidenum">
              <a:rPr lang="en-US" smtClean="0"/>
              <a:pPr/>
              <a:t>10</a:t>
            </a:fld>
            <a:endParaRPr lang="en-US" dirty="0"/>
          </a:p>
        </p:txBody>
      </p:sp>
      <p:sp>
        <p:nvSpPr>
          <p:cNvPr id="8" name="Title 7">
            <a:extLst>
              <a:ext uri="{FF2B5EF4-FFF2-40B4-BE49-F238E27FC236}">
                <a16:creationId xmlns:a16="http://schemas.microsoft.com/office/drawing/2014/main" id="{64E61AC0-5325-0C06-0A6D-9CF52AA46657}"/>
              </a:ext>
            </a:extLst>
          </p:cNvPr>
          <p:cNvSpPr>
            <a:spLocks noGrp="1"/>
          </p:cNvSpPr>
          <p:nvPr>
            <p:ph type="title"/>
          </p:nvPr>
        </p:nvSpPr>
        <p:spPr/>
        <p:txBody>
          <a:bodyPr/>
          <a:lstStyle/>
          <a:p>
            <a:r>
              <a:rPr lang="ar-SA" dirty="0"/>
              <a:t>جميع مؤشرات الأداء</a:t>
            </a:r>
            <a:endParaRPr lang="en-US" dirty="0"/>
          </a:p>
        </p:txBody>
      </p:sp>
      <p:pic>
        <p:nvPicPr>
          <p:cNvPr id="14" name="Picture 13">
            <a:extLst>
              <a:ext uri="{FF2B5EF4-FFF2-40B4-BE49-F238E27FC236}">
                <a16:creationId xmlns:a16="http://schemas.microsoft.com/office/drawing/2014/main" id="{D01DA07E-AC8C-6A45-9671-90A3D95A4F23}"/>
              </a:ext>
            </a:extLst>
          </p:cNvPr>
          <p:cNvPicPr>
            <a:picLocks noChangeAspect="1"/>
          </p:cNvPicPr>
          <p:nvPr/>
        </p:nvPicPr>
        <p:blipFill>
          <a:blip r:embed="rId2"/>
          <a:stretch>
            <a:fillRect/>
          </a:stretch>
        </p:blipFill>
        <p:spPr>
          <a:xfrm>
            <a:off x="299183" y="1874000"/>
            <a:ext cx="7842582" cy="4140579"/>
          </a:xfrm>
          <a:prstGeom prst="rect">
            <a:avLst/>
          </a:prstGeom>
        </p:spPr>
      </p:pic>
      <p:sp>
        <p:nvSpPr>
          <p:cNvPr id="11" name="Free-form: Shape 10">
            <a:extLst>
              <a:ext uri="{FF2B5EF4-FFF2-40B4-BE49-F238E27FC236}">
                <a16:creationId xmlns:a16="http://schemas.microsoft.com/office/drawing/2014/main" id="{6D282C24-01DC-EA6E-EAEE-03073BD66C45}"/>
              </a:ext>
            </a:extLst>
          </p:cNvPr>
          <p:cNvSpPr/>
          <p:nvPr/>
        </p:nvSpPr>
        <p:spPr>
          <a:xfrm>
            <a:off x="299185" y="1849120"/>
            <a:ext cx="7842580" cy="4140579"/>
          </a:xfrm>
          <a:custGeom>
            <a:avLst/>
            <a:gdLst>
              <a:gd name="connsiteX0" fmla="*/ 5694869 w 7842580"/>
              <a:gd name="connsiteY0" fmla="*/ 1004059 h 4140579"/>
              <a:gd name="connsiteX1" fmla="*/ 5473709 w 7842580"/>
              <a:gd name="connsiteY1" fmla="*/ 1225219 h 4140579"/>
              <a:gd name="connsiteX2" fmla="*/ 5473709 w 7842580"/>
              <a:gd name="connsiteY2" fmla="*/ 2109834 h 4140579"/>
              <a:gd name="connsiteX3" fmla="*/ 5694869 w 7842580"/>
              <a:gd name="connsiteY3" fmla="*/ 2330994 h 4140579"/>
              <a:gd name="connsiteX4" fmla="*/ 7049892 w 7842580"/>
              <a:gd name="connsiteY4" fmla="*/ 2330994 h 4140579"/>
              <a:gd name="connsiteX5" fmla="*/ 7271052 w 7842580"/>
              <a:gd name="connsiteY5" fmla="*/ 2109834 h 4140579"/>
              <a:gd name="connsiteX6" fmla="*/ 7271052 w 7842580"/>
              <a:gd name="connsiteY6" fmla="*/ 1225219 h 4140579"/>
              <a:gd name="connsiteX7" fmla="*/ 7049892 w 7842580"/>
              <a:gd name="connsiteY7" fmla="*/ 1004059 h 4140579"/>
              <a:gd name="connsiteX8" fmla="*/ 227477 w 7842580"/>
              <a:gd name="connsiteY8" fmla="*/ 663924 h 4140579"/>
              <a:gd name="connsiteX9" fmla="*/ 173566 w 7842580"/>
              <a:gd name="connsiteY9" fmla="*/ 717835 h 4140579"/>
              <a:gd name="connsiteX10" fmla="*/ 173566 w 7842580"/>
              <a:gd name="connsiteY10" fmla="*/ 933474 h 4140579"/>
              <a:gd name="connsiteX11" fmla="*/ 227477 w 7842580"/>
              <a:gd name="connsiteY11" fmla="*/ 987385 h 4140579"/>
              <a:gd name="connsiteX12" fmla="*/ 1923573 w 7842580"/>
              <a:gd name="connsiteY12" fmla="*/ 987385 h 4140579"/>
              <a:gd name="connsiteX13" fmla="*/ 1977484 w 7842580"/>
              <a:gd name="connsiteY13" fmla="*/ 933474 h 4140579"/>
              <a:gd name="connsiteX14" fmla="*/ 1977484 w 7842580"/>
              <a:gd name="connsiteY14" fmla="*/ 717835 h 4140579"/>
              <a:gd name="connsiteX15" fmla="*/ 1923573 w 7842580"/>
              <a:gd name="connsiteY15" fmla="*/ 663924 h 4140579"/>
              <a:gd name="connsiteX16" fmla="*/ 1482601 w 7842580"/>
              <a:gd name="connsiteY16" fmla="*/ 371565 h 4140579"/>
              <a:gd name="connsiteX17" fmla="*/ 1450461 w 7842580"/>
              <a:gd name="connsiteY17" fmla="*/ 403705 h 4140579"/>
              <a:gd name="connsiteX18" fmla="*/ 1450461 w 7842580"/>
              <a:gd name="connsiteY18" fmla="*/ 532259 h 4140579"/>
              <a:gd name="connsiteX19" fmla="*/ 1482601 w 7842580"/>
              <a:gd name="connsiteY19" fmla="*/ 564399 h 4140579"/>
              <a:gd name="connsiteX20" fmla="*/ 4713424 w 7842580"/>
              <a:gd name="connsiteY20" fmla="*/ 564399 h 4140579"/>
              <a:gd name="connsiteX21" fmla="*/ 4745564 w 7842580"/>
              <a:gd name="connsiteY21" fmla="*/ 532259 h 4140579"/>
              <a:gd name="connsiteX22" fmla="*/ 4745564 w 7842580"/>
              <a:gd name="connsiteY22" fmla="*/ 403705 h 4140579"/>
              <a:gd name="connsiteX23" fmla="*/ 4713424 w 7842580"/>
              <a:gd name="connsiteY23" fmla="*/ 371565 h 4140579"/>
              <a:gd name="connsiteX24" fmla="*/ 4799476 w 7842580"/>
              <a:gd name="connsiteY24" fmla="*/ 334243 h 4140579"/>
              <a:gd name="connsiteX25" fmla="*/ 4745565 w 7842580"/>
              <a:gd name="connsiteY25" fmla="*/ 388154 h 4140579"/>
              <a:gd name="connsiteX26" fmla="*/ 4745565 w 7842580"/>
              <a:gd name="connsiteY26" fmla="*/ 603793 h 4140579"/>
              <a:gd name="connsiteX27" fmla="*/ 4799476 w 7842580"/>
              <a:gd name="connsiteY27" fmla="*/ 657704 h 4140579"/>
              <a:gd name="connsiteX28" fmla="*/ 7298006 w 7842580"/>
              <a:gd name="connsiteY28" fmla="*/ 657704 h 4140579"/>
              <a:gd name="connsiteX29" fmla="*/ 7351917 w 7842580"/>
              <a:gd name="connsiteY29" fmla="*/ 603793 h 4140579"/>
              <a:gd name="connsiteX30" fmla="*/ 7351917 w 7842580"/>
              <a:gd name="connsiteY30" fmla="*/ 388154 h 4140579"/>
              <a:gd name="connsiteX31" fmla="*/ 7298006 w 7842580"/>
              <a:gd name="connsiteY31" fmla="*/ 334243 h 4140579"/>
              <a:gd name="connsiteX32" fmla="*/ 0 w 7842580"/>
              <a:gd name="connsiteY32" fmla="*/ 0 h 4140579"/>
              <a:gd name="connsiteX33" fmla="*/ 7842580 w 7842580"/>
              <a:gd name="connsiteY33" fmla="*/ 0 h 4140579"/>
              <a:gd name="connsiteX34" fmla="*/ 7842580 w 7842580"/>
              <a:gd name="connsiteY34" fmla="*/ 4140579 h 4140579"/>
              <a:gd name="connsiteX35" fmla="*/ 0 w 7842580"/>
              <a:gd name="connsiteY35" fmla="*/ 4140579 h 414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842580" h="4140579">
                <a:moveTo>
                  <a:pt x="5694869" y="1004059"/>
                </a:moveTo>
                <a:cubicBezTo>
                  <a:pt x="5572726" y="1004059"/>
                  <a:pt x="5473709" y="1103076"/>
                  <a:pt x="5473709" y="1225219"/>
                </a:cubicBezTo>
                <a:lnTo>
                  <a:pt x="5473709" y="2109834"/>
                </a:lnTo>
                <a:cubicBezTo>
                  <a:pt x="5473709" y="2231977"/>
                  <a:pt x="5572726" y="2330994"/>
                  <a:pt x="5694869" y="2330994"/>
                </a:cubicBezTo>
                <a:lnTo>
                  <a:pt x="7049892" y="2330994"/>
                </a:lnTo>
                <a:cubicBezTo>
                  <a:pt x="7172035" y="2330994"/>
                  <a:pt x="7271052" y="2231977"/>
                  <a:pt x="7271052" y="2109834"/>
                </a:cubicBezTo>
                <a:lnTo>
                  <a:pt x="7271052" y="1225219"/>
                </a:lnTo>
                <a:cubicBezTo>
                  <a:pt x="7271052" y="1103076"/>
                  <a:pt x="7172035" y="1004059"/>
                  <a:pt x="7049892" y="1004059"/>
                </a:cubicBezTo>
                <a:close/>
                <a:moveTo>
                  <a:pt x="227477" y="663924"/>
                </a:moveTo>
                <a:cubicBezTo>
                  <a:pt x="197703" y="663924"/>
                  <a:pt x="173566" y="688061"/>
                  <a:pt x="173566" y="717835"/>
                </a:cubicBezTo>
                <a:lnTo>
                  <a:pt x="173566" y="933474"/>
                </a:lnTo>
                <a:cubicBezTo>
                  <a:pt x="173566" y="963248"/>
                  <a:pt x="197703" y="987385"/>
                  <a:pt x="227477" y="987385"/>
                </a:cubicBezTo>
                <a:lnTo>
                  <a:pt x="1923573" y="987385"/>
                </a:lnTo>
                <a:cubicBezTo>
                  <a:pt x="1953347" y="987385"/>
                  <a:pt x="1977484" y="963248"/>
                  <a:pt x="1977484" y="933474"/>
                </a:cubicBezTo>
                <a:lnTo>
                  <a:pt x="1977484" y="717835"/>
                </a:lnTo>
                <a:cubicBezTo>
                  <a:pt x="1977484" y="688061"/>
                  <a:pt x="1953347" y="663924"/>
                  <a:pt x="1923573" y="663924"/>
                </a:cubicBezTo>
                <a:close/>
                <a:moveTo>
                  <a:pt x="1482601" y="371565"/>
                </a:moveTo>
                <a:cubicBezTo>
                  <a:pt x="1464851" y="371565"/>
                  <a:pt x="1450461" y="385955"/>
                  <a:pt x="1450461" y="403705"/>
                </a:cubicBezTo>
                <a:lnTo>
                  <a:pt x="1450461" y="532259"/>
                </a:lnTo>
                <a:cubicBezTo>
                  <a:pt x="1450461" y="550009"/>
                  <a:pt x="1464851" y="564399"/>
                  <a:pt x="1482601" y="564399"/>
                </a:cubicBezTo>
                <a:lnTo>
                  <a:pt x="4713424" y="564399"/>
                </a:lnTo>
                <a:cubicBezTo>
                  <a:pt x="4731174" y="564399"/>
                  <a:pt x="4745564" y="550009"/>
                  <a:pt x="4745564" y="532259"/>
                </a:cubicBezTo>
                <a:lnTo>
                  <a:pt x="4745564" y="403705"/>
                </a:lnTo>
                <a:cubicBezTo>
                  <a:pt x="4745564" y="385955"/>
                  <a:pt x="4731174" y="371565"/>
                  <a:pt x="4713424" y="371565"/>
                </a:cubicBezTo>
                <a:close/>
                <a:moveTo>
                  <a:pt x="4799476" y="334243"/>
                </a:moveTo>
                <a:cubicBezTo>
                  <a:pt x="4769702" y="334243"/>
                  <a:pt x="4745565" y="358380"/>
                  <a:pt x="4745565" y="388154"/>
                </a:cubicBezTo>
                <a:lnTo>
                  <a:pt x="4745565" y="603793"/>
                </a:lnTo>
                <a:cubicBezTo>
                  <a:pt x="4745565" y="633567"/>
                  <a:pt x="4769702" y="657704"/>
                  <a:pt x="4799476" y="657704"/>
                </a:cubicBezTo>
                <a:lnTo>
                  <a:pt x="7298006" y="657704"/>
                </a:lnTo>
                <a:cubicBezTo>
                  <a:pt x="7327780" y="657704"/>
                  <a:pt x="7351917" y="633567"/>
                  <a:pt x="7351917" y="603793"/>
                </a:cubicBezTo>
                <a:lnTo>
                  <a:pt x="7351917" y="388154"/>
                </a:lnTo>
                <a:cubicBezTo>
                  <a:pt x="7351917" y="358380"/>
                  <a:pt x="7327780" y="334243"/>
                  <a:pt x="7298006" y="334243"/>
                </a:cubicBezTo>
                <a:close/>
                <a:moveTo>
                  <a:pt x="0" y="0"/>
                </a:moveTo>
                <a:lnTo>
                  <a:pt x="7842580" y="0"/>
                </a:lnTo>
                <a:lnTo>
                  <a:pt x="7842580" y="4140579"/>
                </a:lnTo>
                <a:lnTo>
                  <a:pt x="0" y="414057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extBox 11">
            <a:extLst>
              <a:ext uri="{FF2B5EF4-FFF2-40B4-BE49-F238E27FC236}">
                <a16:creationId xmlns:a16="http://schemas.microsoft.com/office/drawing/2014/main" id="{D3B5B865-32F0-8A1D-72B6-21D0ADDB1165}"/>
              </a:ext>
            </a:extLst>
          </p:cNvPr>
          <p:cNvSpPr txBox="1"/>
          <p:nvPr/>
        </p:nvSpPr>
        <p:spPr>
          <a:xfrm>
            <a:off x="6447453" y="1849120"/>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3" name="TextBox 12">
            <a:extLst>
              <a:ext uri="{FF2B5EF4-FFF2-40B4-BE49-F238E27FC236}">
                <a16:creationId xmlns:a16="http://schemas.microsoft.com/office/drawing/2014/main" id="{A63A8AFE-F1A5-6926-EB40-71CAEF2B6EA1}"/>
              </a:ext>
            </a:extLst>
          </p:cNvPr>
          <p:cNvSpPr txBox="1"/>
          <p:nvPr/>
        </p:nvSpPr>
        <p:spPr>
          <a:xfrm>
            <a:off x="3368350" y="1900677"/>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5" name="TextBox 14">
            <a:extLst>
              <a:ext uri="{FF2B5EF4-FFF2-40B4-BE49-F238E27FC236}">
                <a16:creationId xmlns:a16="http://schemas.microsoft.com/office/drawing/2014/main" id="{D4C324C1-3EAA-A480-46DE-E0C2995A2231}"/>
              </a:ext>
            </a:extLst>
          </p:cNvPr>
          <p:cNvSpPr txBox="1"/>
          <p:nvPr/>
        </p:nvSpPr>
        <p:spPr>
          <a:xfrm>
            <a:off x="351452" y="2516498"/>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16" name="TextBox 15">
            <a:extLst>
              <a:ext uri="{FF2B5EF4-FFF2-40B4-BE49-F238E27FC236}">
                <a16:creationId xmlns:a16="http://schemas.microsoft.com/office/drawing/2014/main" id="{9CC11F5A-2A9A-F260-B642-33719D416FFC}"/>
              </a:ext>
            </a:extLst>
          </p:cNvPr>
          <p:cNvSpPr txBox="1"/>
          <p:nvPr/>
        </p:nvSpPr>
        <p:spPr>
          <a:xfrm>
            <a:off x="7542244" y="2721771"/>
            <a:ext cx="129235" cy="280751"/>
          </a:xfrm>
          <a:prstGeom prst="rect">
            <a:avLst/>
          </a:prstGeom>
        </p:spPr>
        <p:txBody>
          <a:bodyPr vert="horz" wrap="none" lIns="0" tIns="0" rIns="0" bIns="0" rtlCol="0" anchor="t">
            <a:noAutofit/>
          </a:bodyPr>
          <a:lstStyle/>
          <a:p>
            <a:pPr algn="l"/>
            <a:r>
              <a:rPr lang="en-US" sz="2000" b="1" dirty="0">
                <a:solidFill>
                  <a:schemeClr val="bg1"/>
                </a:solidFill>
              </a:rPr>
              <a:t>4</a:t>
            </a:r>
          </a:p>
        </p:txBody>
      </p:sp>
      <p:sp>
        <p:nvSpPr>
          <p:cNvPr id="6" name="Text Placeholder 6">
            <a:extLst>
              <a:ext uri="{FF2B5EF4-FFF2-40B4-BE49-F238E27FC236}">
                <a16:creationId xmlns:a16="http://schemas.microsoft.com/office/drawing/2014/main" id="{B719BDD2-50CB-37AC-7404-AD4C3225FBF1}"/>
              </a:ext>
            </a:extLst>
          </p:cNvPr>
          <p:cNvSpPr txBox="1">
            <a:spLocks/>
          </p:cNvSpPr>
          <p:nvPr/>
        </p:nvSpPr>
        <p:spPr>
          <a:xfrm>
            <a:off x="534825" y="621101"/>
            <a:ext cx="10936449" cy="757255"/>
          </a:xfrm>
          <a:prstGeom prst="rect">
            <a:avLst/>
          </a:prstGeom>
        </p:spPr>
        <p:txBody>
          <a:bodyPr vert="horz" lIns="0" tIns="0" rIns="0" bIns="0" rtlCol="0">
            <a:noAutofit/>
          </a:bodyPr>
          <a:lstStyle>
            <a:lvl1pPr marL="0" indent="0" algn="r" defTabSz="914400" rtl="1" eaLnBrk="1" latinLnBrk="0" hangingPunct="1">
              <a:lnSpc>
                <a:spcPct val="90000"/>
              </a:lnSpc>
              <a:spcBef>
                <a:spcPts val="1000"/>
              </a:spcBef>
              <a:buFont typeface="Arial" panose="020B0604020202020204" pitchFamily="34" charset="0"/>
              <a:buNone/>
              <a:defRPr sz="2400" b="0" i="0" kern="1200">
                <a:solidFill>
                  <a:schemeClr val="accent2"/>
                </a:solidFill>
                <a:latin typeface="+mn-lt"/>
                <a:ea typeface="+mn-ea"/>
                <a:cs typeface="+mn-cs"/>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mn-lt"/>
                <a:ea typeface="+mn-ea"/>
                <a:cs typeface="+mn-cs"/>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mn-lt"/>
                <a:ea typeface="+mn-ea"/>
                <a:cs typeface="+mn-cs"/>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mn-lt"/>
                <a:ea typeface="+mn-ea"/>
                <a:cs typeface="+mn-cs"/>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نظرة عامة</a:t>
            </a:r>
            <a:endParaRPr lang="en-US" dirty="0"/>
          </a:p>
        </p:txBody>
      </p:sp>
    </p:spTree>
    <p:extLst>
      <p:ext uri="{BB962C8B-B14F-4D97-AF65-F5344CB8AC3E}">
        <p14:creationId xmlns:p14="http://schemas.microsoft.com/office/powerpoint/2010/main" val="2365354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AA348-6C4F-B005-D417-85B8D687E1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D56155-9A1F-7730-1A2E-E57542AB21D3}"/>
              </a:ext>
            </a:extLst>
          </p:cNvPr>
          <p:cNvSpPr>
            <a:spLocks noGrp="1"/>
          </p:cNvSpPr>
          <p:nvPr>
            <p:ph type="title"/>
          </p:nvPr>
        </p:nvSpPr>
        <p:spPr/>
        <p:txBody>
          <a:bodyPr/>
          <a:lstStyle/>
          <a:p>
            <a:r>
              <a:rPr lang="ar-SA" dirty="0"/>
              <a:t>مركز المهام</a:t>
            </a:r>
            <a:endParaRPr lang="en-GB" dirty="0"/>
          </a:p>
        </p:txBody>
      </p:sp>
      <p:sp>
        <p:nvSpPr>
          <p:cNvPr id="3" name="Slide Number Placeholder 2">
            <a:extLst>
              <a:ext uri="{FF2B5EF4-FFF2-40B4-BE49-F238E27FC236}">
                <a16:creationId xmlns:a16="http://schemas.microsoft.com/office/drawing/2014/main" id="{6D64E0D1-9CC0-61A9-C056-7573B04AF0B6}"/>
              </a:ext>
            </a:extLst>
          </p:cNvPr>
          <p:cNvSpPr>
            <a:spLocks noGrp="1"/>
          </p:cNvSpPr>
          <p:nvPr>
            <p:ph type="sldNum" sz="quarter" idx="4"/>
          </p:nvPr>
        </p:nvSpPr>
        <p:spPr/>
        <p:txBody>
          <a:bodyPr/>
          <a:lstStyle/>
          <a:p>
            <a:fld id="{E75C2C89-F887-4946-9289-77479B29E3CB}" type="slidenum">
              <a:rPr lang="en-US" smtClean="0"/>
              <a:pPr/>
              <a:t>11</a:t>
            </a:fld>
            <a:endParaRPr lang="en-US"/>
          </a:p>
        </p:txBody>
      </p:sp>
    </p:spTree>
    <p:extLst>
      <p:ext uri="{BB962C8B-B14F-4D97-AF65-F5344CB8AC3E}">
        <p14:creationId xmlns:p14="http://schemas.microsoft.com/office/powerpoint/2010/main" val="3118726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0F53D4B-3C32-549E-237D-CFF468E3FC7E}"/>
              </a:ext>
            </a:extLst>
          </p:cNvPr>
          <p:cNvSpPr>
            <a:spLocks noGrp="1"/>
          </p:cNvSpPr>
          <p:nvPr>
            <p:ph type="sldNum" sz="quarter" idx="4"/>
          </p:nvPr>
        </p:nvSpPr>
        <p:spPr/>
        <p:txBody>
          <a:bodyPr/>
          <a:lstStyle/>
          <a:p>
            <a:fld id="{E75C2C89-F887-4946-9289-77479B29E3CB}" type="slidenum">
              <a:rPr lang="en-US" smtClean="0"/>
              <a:pPr/>
              <a:t>12</a:t>
            </a:fld>
            <a:endParaRPr lang="en-US" dirty="0"/>
          </a:p>
        </p:txBody>
      </p:sp>
      <p:sp>
        <p:nvSpPr>
          <p:cNvPr id="7" name="Text Placeholder 6">
            <a:extLst>
              <a:ext uri="{FF2B5EF4-FFF2-40B4-BE49-F238E27FC236}">
                <a16:creationId xmlns:a16="http://schemas.microsoft.com/office/drawing/2014/main" id="{D7FA4CD4-3DAA-4F31-F960-11079FD06B25}"/>
              </a:ext>
            </a:extLst>
          </p:cNvPr>
          <p:cNvSpPr>
            <a:spLocks noGrp="1"/>
          </p:cNvSpPr>
          <p:nvPr>
            <p:ph type="body" sz="quarter" idx="24"/>
          </p:nvPr>
        </p:nvSpPr>
        <p:spPr/>
        <p:txBody>
          <a:bodyPr/>
          <a:lstStyle/>
          <a:p>
            <a:r>
              <a:rPr lang="ar-SA" dirty="0"/>
              <a:t>نظرة عامة</a:t>
            </a:r>
            <a:endParaRPr lang="en-GB" dirty="0"/>
          </a:p>
        </p:txBody>
      </p:sp>
      <p:sp>
        <p:nvSpPr>
          <p:cNvPr id="8" name="Title 7">
            <a:extLst>
              <a:ext uri="{FF2B5EF4-FFF2-40B4-BE49-F238E27FC236}">
                <a16:creationId xmlns:a16="http://schemas.microsoft.com/office/drawing/2014/main" id="{D6780B4E-3558-2508-3EB1-DDC24114326B}"/>
              </a:ext>
            </a:extLst>
          </p:cNvPr>
          <p:cNvSpPr>
            <a:spLocks noGrp="1"/>
          </p:cNvSpPr>
          <p:nvPr>
            <p:ph type="title"/>
          </p:nvPr>
        </p:nvSpPr>
        <p:spPr/>
        <p:txBody>
          <a:bodyPr/>
          <a:lstStyle/>
          <a:p>
            <a:r>
              <a:rPr lang="ar-SA" dirty="0"/>
              <a:t>مركز المهام</a:t>
            </a:r>
            <a:endParaRPr lang="en-GB" dirty="0"/>
          </a:p>
        </p:txBody>
      </p:sp>
      <p:sp>
        <p:nvSpPr>
          <p:cNvPr id="20" name="TextBox 19">
            <a:extLst>
              <a:ext uri="{FF2B5EF4-FFF2-40B4-BE49-F238E27FC236}">
                <a16:creationId xmlns:a16="http://schemas.microsoft.com/office/drawing/2014/main" id="{F7C8D3CC-AB18-802F-2227-4D3E69969055}"/>
              </a:ext>
            </a:extLst>
          </p:cNvPr>
          <p:cNvSpPr txBox="1"/>
          <p:nvPr/>
        </p:nvSpPr>
        <p:spPr>
          <a:xfrm>
            <a:off x="9092485" y="1699448"/>
            <a:ext cx="2704563" cy="4379379"/>
          </a:xfrm>
          <a:prstGeom prst="rect">
            <a:avLst/>
          </a:prstGeom>
        </p:spPr>
        <p:txBody>
          <a:bodyPr vert="horz" wrap="none" lIns="0" tIns="0" rIns="0" bIns="0" rtlCol="0" anchor="t">
            <a:noAutofit/>
          </a:bodyPr>
          <a:lstStyle/>
          <a:p>
            <a:pPr algn="l"/>
            <a:endParaRPr lang="en-GB" sz="2800" dirty="0">
              <a:solidFill>
                <a:schemeClr val="accent1"/>
              </a:solidFill>
            </a:endParaRPr>
          </a:p>
        </p:txBody>
      </p:sp>
      <p:sp>
        <p:nvSpPr>
          <p:cNvPr id="21" name="Chart Placeholder 2">
            <a:extLst>
              <a:ext uri="{FF2B5EF4-FFF2-40B4-BE49-F238E27FC236}">
                <a16:creationId xmlns:a16="http://schemas.microsoft.com/office/drawing/2014/main" id="{DF9B9CFD-1C41-F763-09C0-619E4E859D5E}"/>
              </a:ext>
            </a:extLst>
          </p:cNvPr>
          <p:cNvSpPr>
            <a:spLocks noGrp="1"/>
          </p:cNvSpPr>
          <p:nvPr>
            <p:ph type="chart" sz="quarter" idx="21"/>
          </p:nvPr>
        </p:nvSpPr>
        <p:spPr>
          <a:xfrm>
            <a:off x="8852131" y="1699448"/>
            <a:ext cx="3025543" cy="4455725"/>
          </a:xfrm>
        </p:spPr>
        <p:txBody>
          <a:bodyPr/>
          <a:lstStyle/>
          <a:p>
            <a:r>
              <a:rPr lang="ar-SA" dirty="0"/>
              <a:t>في هذه الصفحة يعرض النظام المهام المطلوبة من المستخدم مقسمة الى ثلاثة </a:t>
            </a:r>
            <a:r>
              <a:rPr lang="ar-SA" dirty="0" err="1"/>
              <a:t>تبويبات</a:t>
            </a:r>
            <a:r>
              <a:rPr lang="ar-SA" dirty="0"/>
              <a:t>:</a:t>
            </a:r>
          </a:p>
          <a:p>
            <a:pPr marL="342900" indent="-342900">
              <a:buFont typeface="+mj-lt"/>
              <a:buAutoNum type="arabicPeriod"/>
            </a:pPr>
            <a:r>
              <a:rPr lang="ar-SA" dirty="0"/>
              <a:t>موافقات</a:t>
            </a:r>
          </a:p>
          <a:p>
            <a:pPr marL="342900" indent="-342900">
              <a:buFont typeface="+mj-lt"/>
              <a:buAutoNum type="arabicPeriod"/>
            </a:pPr>
            <a:r>
              <a:rPr lang="ar-SA" dirty="0"/>
              <a:t>تحديث المؤشرات</a:t>
            </a:r>
          </a:p>
          <a:p>
            <a:pPr marL="342900" indent="-342900">
              <a:buFont typeface="+mj-lt"/>
              <a:buAutoNum type="arabicPeriod"/>
            </a:pPr>
            <a:r>
              <a:rPr lang="ar-SA" dirty="0"/>
              <a:t>طلباتي</a:t>
            </a:r>
          </a:p>
          <a:p>
            <a:r>
              <a:rPr lang="ar-SA" dirty="0"/>
              <a:t>الى جانب:</a:t>
            </a:r>
          </a:p>
          <a:p>
            <a:pPr marL="342900" indent="-342900">
              <a:buFont typeface="+mj-lt"/>
              <a:buAutoNum type="arabicPeriod" startAt="4"/>
            </a:pPr>
            <a:r>
              <a:rPr lang="ar-SA" dirty="0"/>
              <a:t>التقويم (لتصفية العناصر المعروضة)</a:t>
            </a:r>
          </a:p>
          <a:p>
            <a:endParaRPr lang="ar-SA" dirty="0"/>
          </a:p>
          <a:p>
            <a:endParaRPr lang="ar-SA" dirty="0"/>
          </a:p>
          <a:p>
            <a:r>
              <a:rPr lang="ar-SA" dirty="0"/>
              <a:t>ملاحظة: في تبويب "موافقات" يعرض النظام أي عنصر ينتظر موافقة المستخدم مثل إضافة مؤشر، تعديل مؤشر، تحديث مؤشر،... إلخ، وهذا اذا كان المستخدم قد تم تحديده كمستخدم معتمد للموافقة من قبل مشرف النظام في دورة موافقة.</a:t>
            </a:r>
          </a:p>
        </p:txBody>
      </p:sp>
      <p:pic>
        <p:nvPicPr>
          <p:cNvPr id="3" name="Picture 2">
            <a:extLst>
              <a:ext uri="{FF2B5EF4-FFF2-40B4-BE49-F238E27FC236}">
                <a16:creationId xmlns:a16="http://schemas.microsoft.com/office/drawing/2014/main" id="{1CE672EE-2EAC-2A17-51FA-FB22FEA34F27}"/>
              </a:ext>
            </a:extLst>
          </p:cNvPr>
          <p:cNvPicPr>
            <a:picLocks noChangeAspect="1"/>
          </p:cNvPicPr>
          <p:nvPr/>
        </p:nvPicPr>
        <p:blipFill>
          <a:blip r:embed="rId2"/>
          <a:stretch>
            <a:fillRect/>
          </a:stretch>
        </p:blipFill>
        <p:spPr>
          <a:xfrm>
            <a:off x="484667" y="1811346"/>
            <a:ext cx="8088267" cy="4267481"/>
          </a:xfrm>
          <a:prstGeom prst="rect">
            <a:avLst/>
          </a:prstGeom>
        </p:spPr>
      </p:pic>
      <p:sp>
        <p:nvSpPr>
          <p:cNvPr id="14" name="Free-form: Shape 13">
            <a:extLst>
              <a:ext uri="{FF2B5EF4-FFF2-40B4-BE49-F238E27FC236}">
                <a16:creationId xmlns:a16="http://schemas.microsoft.com/office/drawing/2014/main" id="{7221AF9A-2C4A-3AB1-4390-0A7BB2D58DC3}"/>
              </a:ext>
            </a:extLst>
          </p:cNvPr>
          <p:cNvSpPr/>
          <p:nvPr/>
        </p:nvSpPr>
        <p:spPr>
          <a:xfrm>
            <a:off x="484666" y="1811346"/>
            <a:ext cx="8088267" cy="4325294"/>
          </a:xfrm>
          <a:custGeom>
            <a:avLst/>
            <a:gdLst>
              <a:gd name="connsiteX0" fmla="*/ 7130022 w 8088267"/>
              <a:gd name="connsiteY0" fmla="*/ 339517 h 4325294"/>
              <a:gd name="connsiteX1" fmla="*/ 7093502 w 8088267"/>
              <a:gd name="connsiteY1" fmla="*/ 376037 h 4325294"/>
              <a:gd name="connsiteX2" fmla="*/ 7093502 w 8088267"/>
              <a:gd name="connsiteY2" fmla="*/ 522111 h 4325294"/>
              <a:gd name="connsiteX3" fmla="*/ 7130022 w 8088267"/>
              <a:gd name="connsiteY3" fmla="*/ 558631 h 4325294"/>
              <a:gd name="connsiteX4" fmla="*/ 7546684 w 8088267"/>
              <a:gd name="connsiteY4" fmla="*/ 558631 h 4325294"/>
              <a:gd name="connsiteX5" fmla="*/ 7583204 w 8088267"/>
              <a:gd name="connsiteY5" fmla="*/ 522111 h 4325294"/>
              <a:gd name="connsiteX6" fmla="*/ 7583204 w 8088267"/>
              <a:gd name="connsiteY6" fmla="*/ 376037 h 4325294"/>
              <a:gd name="connsiteX7" fmla="*/ 7546684 w 8088267"/>
              <a:gd name="connsiteY7" fmla="*/ 339517 h 4325294"/>
              <a:gd name="connsiteX8" fmla="*/ 6481389 w 8088267"/>
              <a:gd name="connsiteY8" fmla="*/ 339517 h 4325294"/>
              <a:gd name="connsiteX9" fmla="*/ 6444869 w 8088267"/>
              <a:gd name="connsiteY9" fmla="*/ 376037 h 4325294"/>
              <a:gd name="connsiteX10" fmla="*/ 6444869 w 8088267"/>
              <a:gd name="connsiteY10" fmla="*/ 522111 h 4325294"/>
              <a:gd name="connsiteX11" fmla="*/ 6481389 w 8088267"/>
              <a:gd name="connsiteY11" fmla="*/ 558631 h 4325294"/>
              <a:gd name="connsiteX12" fmla="*/ 6976356 w 8088267"/>
              <a:gd name="connsiteY12" fmla="*/ 558631 h 4325294"/>
              <a:gd name="connsiteX13" fmla="*/ 7012876 w 8088267"/>
              <a:gd name="connsiteY13" fmla="*/ 522111 h 4325294"/>
              <a:gd name="connsiteX14" fmla="*/ 7012876 w 8088267"/>
              <a:gd name="connsiteY14" fmla="*/ 376037 h 4325294"/>
              <a:gd name="connsiteX15" fmla="*/ 6976356 w 8088267"/>
              <a:gd name="connsiteY15" fmla="*/ 339517 h 4325294"/>
              <a:gd name="connsiteX16" fmla="*/ 5929723 w 8088267"/>
              <a:gd name="connsiteY16" fmla="*/ 339517 h 4325294"/>
              <a:gd name="connsiteX17" fmla="*/ 5893203 w 8088267"/>
              <a:gd name="connsiteY17" fmla="*/ 376037 h 4325294"/>
              <a:gd name="connsiteX18" fmla="*/ 5893203 w 8088267"/>
              <a:gd name="connsiteY18" fmla="*/ 522111 h 4325294"/>
              <a:gd name="connsiteX19" fmla="*/ 5929723 w 8088267"/>
              <a:gd name="connsiteY19" fmla="*/ 558631 h 4325294"/>
              <a:gd name="connsiteX20" fmla="*/ 6346385 w 8088267"/>
              <a:gd name="connsiteY20" fmla="*/ 558631 h 4325294"/>
              <a:gd name="connsiteX21" fmla="*/ 6382905 w 8088267"/>
              <a:gd name="connsiteY21" fmla="*/ 522111 h 4325294"/>
              <a:gd name="connsiteX22" fmla="*/ 6382905 w 8088267"/>
              <a:gd name="connsiteY22" fmla="*/ 376037 h 4325294"/>
              <a:gd name="connsiteX23" fmla="*/ 6346385 w 8088267"/>
              <a:gd name="connsiteY23" fmla="*/ 339517 h 4325294"/>
              <a:gd name="connsiteX24" fmla="*/ 0 w 8088267"/>
              <a:gd name="connsiteY24" fmla="*/ 0 h 4325294"/>
              <a:gd name="connsiteX25" fmla="*/ 8088267 w 8088267"/>
              <a:gd name="connsiteY25" fmla="*/ 0 h 4325294"/>
              <a:gd name="connsiteX26" fmla="*/ 8088267 w 8088267"/>
              <a:gd name="connsiteY26" fmla="*/ 4325294 h 4325294"/>
              <a:gd name="connsiteX27" fmla="*/ 0 w 8088267"/>
              <a:gd name="connsiteY27" fmla="*/ 4325294 h 4325294"/>
              <a:gd name="connsiteX28" fmla="*/ 0 w 8088267"/>
              <a:gd name="connsiteY28" fmla="*/ 3012496 h 4325294"/>
              <a:gd name="connsiteX29" fmla="*/ 9037 w 8088267"/>
              <a:gd name="connsiteY29" fmla="*/ 3102137 h 4325294"/>
              <a:gd name="connsiteX30" fmla="*/ 444855 w 8088267"/>
              <a:gd name="connsiteY30" fmla="*/ 3457339 h 4325294"/>
              <a:gd name="connsiteX31" fmla="*/ 2224225 w 8088267"/>
              <a:gd name="connsiteY31" fmla="*/ 3457339 h 4325294"/>
              <a:gd name="connsiteX32" fmla="*/ 2669081 w 8088267"/>
              <a:gd name="connsiteY32" fmla="*/ 3012483 h 4325294"/>
              <a:gd name="connsiteX33" fmla="*/ 2669081 w 8088267"/>
              <a:gd name="connsiteY33" fmla="*/ 1150946 h 4325294"/>
              <a:gd name="connsiteX34" fmla="*/ 2224225 w 8088267"/>
              <a:gd name="connsiteY34" fmla="*/ 706090 h 4325294"/>
              <a:gd name="connsiteX35" fmla="*/ 444855 w 8088267"/>
              <a:gd name="connsiteY35" fmla="*/ 706090 h 4325294"/>
              <a:gd name="connsiteX36" fmla="*/ 9037 w 8088267"/>
              <a:gd name="connsiteY36" fmla="*/ 1061292 h 4325294"/>
              <a:gd name="connsiteX37" fmla="*/ 0 w 8088267"/>
              <a:gd name="connsiteY37" fmla="*/ 1150933 h 432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88267" h="4325294">
                <a:moveTo>
                  <a:pt x="7130022" y="339517"/>
                </a:moveTo>
                <a:cubicBezTo>
                  <a:pt x="7109853" y="339517"/>
                  <a:pt x="7093502" y="355868"/>
                  <a:pt x="7093502" y="376037"/>
                </a:cubicBezTo>
                <a:lnTo>
                  <a:pt x="7093502" y="522111"/>
                </a:lnTo>
                <a:cubicBezTo>
                  <a:pt x="7093502" y="542280"/>
                  <a:pt x="7109853" y="558631"/>
                  <a:pt x="7130022" y="558631"/>
                </a:cubicBezTo>
                <a:lnTo>
                  <a:pt x="7546684" y="558631"/>
                </a:lnTo>
                <a:cubicBezTo>
                  <a:pt x="7566853" y="558631"/>
                  <a:pt x="7583204" y="542280"/>
                  <a:pt x="7583204" y="522111"/>
                </a:cubicBezTo>
                <a:lnTo>
                  <a:pt x="7583204" y="376037"/>
                </a:lnTo>
                <a:cubicBezTo>
                  <a:pt x="7583204" y="355868"/>
                  <a:pt x="7566853" y="339517"/>
                  <a:pt x="7546684" y="339517"/>
                </a:cubicBezTo>
                <a:close/>
                <a:moveTo>
                  <a:pt x="6481389" y="339517"/>
                </a:moveTo>
                <a:cubicBezTo>
                  <a:pt x="6461220" y="339517"/>
                  <a:pt x="6444869" y="355868"/>
                  <a:pt x="6444869" y="376037"/>
                </a:cubicBezTo>
                <a:lnTo>
                  <a:pt x="6444869" y="522111"/>
                </a:lnTo>
                <a:cubicBezTo>
                  <a:pt x="6444869" y="542280"/>
                  <a:pt x="6461220" y="558631"/>
                  <a:pt x="6481389" y="558631"/>
                </a:cubicBezTo>
                <a:lnTo>
                  <a:pt x="6976356" y="558631"/>
                </a:lnTo>
                <a:cubicBezTo>
                  <a:pt x="6996525" y="558631"/>
                  <a:pt x="7012876" y="542280"/>
                  <a:pt x="7012876" y="522111"/>
                </a:cubicBezTo>
                <a:lnTo>
                  <a:pt x="7012876" y="376037"/>
                </a:lnTo>
                <a:cubicBezTo>
                  <a:pt x="7012876" y="355868"/>
                  <a:pt x="6996525" y="339517"/>
                  <a:pt x="6976356" y="339517"/>
                </a:cubicBezTo>
                <a:close/>
                <a:moveTo>
                  <a:pt x="5929723" y="339517"/>
                </a:moveTo>
                <a:cubicBezTo>
                  <a:pt x="5909554" y="339517"/>
                  <a:pt x="5893203" y="355868"/>
                  <a:pt x="5893203" y="376037"/>
                </a:cubicBezTo>
                <a:lnTo>
                  <a:pt x="5893203" y="522111"/>
                </a:lnTo>
                <a:cubicBezTo>
                  <a:pt x="5893203" y="542280"/>
                  <a:pt x="5909554" y="558631"/>
                  <a:pt x="5929723" y="558631"/>
                </a:cubicBezTo>
                <a:lnTo>
                  <a:pt x="6346385" y="558631"/>
                </a:lnTo>
                <a:cubicBezTo>
                  <a:pt x="6366554" y="558631"/>
                  <a:pt x="6382905" y="542280"/>
                  <a:pt x="6382905" y="522111"/>
                </a:cubicBezTo>
                <a:lnTo>
                  <a:pt x="6382905" y="376037"/>
                </a:lnTo>
                <a:cubicBezTo>
                  <a:pt x="6382905" y="355868"/>
                  <a:pt x="6366554" y="339517"/>
                  <a:pt x="6346385" y="339517"/>
                </a:cubicBezTo>
                <a:close/>
                <a:moveTo>
                  <a:pt x="0" y="0"/>
                </a:moveTo>
                <a:lnTo>
                  <a:pt x="8088267" y="0"/>
                </a:lnTo>
                <a:lnTo>
                  <a:pt x="8088267" y="4325294"/>
                </a:lnTo>
                <a:lnTo>
                  <a:pt x="0" y="4325294"/>
                </a:lnTo>
                <a:lnTo>
                  <a:pt x="0" y="3012496"/>
                </a:lnTo>
                <a:lnTo>
                  <a:pt x="9037" y="3102137"/>
                </a:lnTo>
                <a:cubicBezTo>
                  <a:pt x="50518" y="3304850"/>
                  <a:pt x="229879" y="3457339"/>
                  <a:pt x="444855" y="3457339"/>
                </a:cubicBezTo>
                <a:lnTo>
                  <a:pt x="2224225" y="3457339"/>
                </a:lnTo>
                <a:cubicBezTo>
                  <a:pt x="2469912" y="3457339"/>
                  <a:pt x="2669081" y="3258170"/>
                  <a:pt x="2669081" y="3012483"/>
                </a:cubicBezTo>
                <a:lnTo>
                  <a:pt x="2669081" y="1150946"/>
                </a:lnTo>
                <a:cubicBezTo>
                  <a:pt x="2669081" y="905259"/>
                  <a:pt x="2469912" y="706090"/>
                  <a:pt x="2224225" y="706090"/>
                </a:cubicBezTo>
                <a:lnTo>
                  <a:pt x="444855" y="706090"/>
                </a:lnTo>
                <a:cubicBezTo>
                  <a:pt x="229879" y="706090"/>
                  <a:pt x="50518" y="858579"/>
                  <a:pt x="9037" y="1061292"/>
                </a:cubicBezTo>
                <a:lnTo>
                  <a:pt x="0" y="1150933"/>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Box 14">
            <a:extLst>
              <a:ext uri="{FF2B5EF4-FFF2-40B4-BE49-F238E27FC236}">
                <a16:creationId xmlns:a16="http://schemas.microsoft.com/office/drawing/2014/main" id="{FF194DC7-52E9-8ED6-45ED-5A0196F6CEEE}"/>
              </a:ext>
            </a:extLst>
          </p:cNvPr>
          <p:cNvSpPr txBox="1"/>
          <p:nvPr/>
        </p:nvSpPr>
        <p:spPr>
          <a:xfrm>
            <a:off x="7747518" y="1905104"/>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6" name="TextBox 15">
            <a:extLst>
              <a:ext uri="{FF2B5EF4-FFF2-40B4-BE49-F238E27FC236}">
                <a16:creationId xmlns:a16="http://schemas.microsoft.com/office/drawing/2014/main" id="{F28A04A6-B41F-C90A-1654-20BC0CBF90C4}"/>
              </a:ext>
            </a:extLst>
          </p:cNvPr>
          <p:cNvSpPr txBox="1"/>
          <p:nvPr/>
        </p:nvSpPr>
        <p:spPr>
          <a:xfrm>
            <a:off x="7137918" y="1905104"/>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7" name="TextBox 16">
            <a:extLst>
              <a:ext uri="{FF2B5EF4-FFF2-40B4-BE49-F238E27FC236}">
                <a16:creationId xmlns:a16="http://schemas.microsoft.com/office/drawing/2014/main" id="{BB96B729-E299-706A-A2FF-086EFDD137A6}"/>
              </a:ext>
            </a:extLst>
          </p:cNvPr>
          <p:cNvSpPr txBox="1"/>
          <p:nvPr/>
        </p:nvSpPr>
        <p:spPr>
          <a:xfrm>
            <a:off x="6592935" y="1905104"/>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18" name="TextBox 17">
            <a:extLst>
              <a:ext uri="{FF2B5EF4-FFF2-40B4-BE49-F238E27FC236}">
                <a16:creationId xmlns:a16="http://schemas.microsoft.com/office/drawing/2014/main" id="{C81D8EC1-41CF-4812-70BA-1242529E9059}"/>
              </a:ext>
            </a:extLst>
          </p:cNvPr>
          <p:cNvSpPr txBox="1"/>
          <p:nvPr/>
        </p:nvSpPr>
        <p:spPr>
          <a:xfrm>
            <a:off x="1794588" y="2247226"/>
            <a:ext cx="129235" cy="280751"/>
          </a:xfrm>
          <a:prstGeom prst="rect">
            <a:avLst/>
          </a:prstGeom>
        </p:spPr>
        <p:txBody>
          <a:bodyPr vert="horz" wrap="none" lIns="0" tIns="0" rIns="0" bIns="0" rtlCol="0" anchor="t">
            <a:noAutofit/>
          </a:bodyPr>
          <a:lstStyle/>
          <a:p>
            <a:pPr algn="l"/>
            <a:r>
              <a:rPr lang="en-US" sz="2000" b="1" dirty="0">
                <a:solidFill>
                  <a:schemeClr val="bg1"/>
                </a:solidFill>
              </a:rPr>
              <a:t>4</a:t>
            </a:r>
          </a:p>
        </p:txBody>
      </p:sp>
    </p:spTree>
    <p:extLst>
      <p:ext uri="{BB962C8B-B14F-4D97-AF65-F5344CB8AC3E}">
        <p14:creationId xmlns:p14="http://schemas.microsoft.com/office/powerpoint/2010/main" val="1305470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C95B312C-9B6D-71FE-ED32-8742CA929B4A}"/>
              </a:ext>
            </a:extLst>
          </p:cNvPr>
          <p:cNvSpPr>
            <a:spLocks noGrp="1"/>
          </p:cNvSpPr>
          <p:nvPr>
            <p:ph type="chart" sz="quarter" idx="21"/>
          </p:nvPr>
        </p:nvSpPr>
        <p:spPr>
          <a:xfrm>
            <a:off x="9213372" y="1720494"/>
            <a:ext cx="2632757" cy="4421564"/>
          </a:xfrm>
        </p:spPr>
        <p:txBody>
          <a:bodyPr/>
          <a:lstStyle/>
          <a:p>
            <a:r>
              <a:rPr lang="ar-SA" dirty="0"/>
              <a:t>عند وجود طلب موافقة للمستخدم يعرض النظام البطاقة ويتيح للمستخدم ثلاث اختيارات:</a:t>
            </a:r>
          </a:p>
          <a:p>
            <a:pPr marL="342900" indent="-342900">
              <a:buFont typeface="+mj-lt"/>
              <a:buAutoNum type="arabicPeriod"/>
            </a:pPr>
            <a:r>
              <a:rPr lang="ar-SA" dirty="0"/>
              <a:t>موافقة</a:t>
            </a:r>
          </a:p>
          <a:p>
            <a:pPr marL="342900" indent="-342900">
              <a:buFont typeface="+mj-lt"/>
              <a:buAutoNum type="arabicPeriod"/>
            </a:pPr>
            <a:r>
              <a:rPr lang="ar-SA" dirty="0"/>
              <a:t>رفض</a:t>
            </a:r>
          </a:p>
          <a:p>
            <a:pPr marL="342900" indent="-342900">
              <a:buFont typeface="+mj-lt"/>
              <a:buAutoNum type="arabicPeriod"/>
            </a:pPr>
            <a:r>
              <a:rPr lang="ar-SA" dirty="0"/>
              <a:t>تفاصيل (يقوم النظام بعرض تفاصيل العنصر في نافذة منبثقة)</a:t>
            </a:r>
          </a:p>
          <a:p>
            <a:endParaRPr lang="ar-SA" dirty="0"/>
          </a:p>
          <a:p>
            <a:endParaRPr lang="en-GB" dirty="0"/>
          </a:p>
        </p:txBody>
      </p:sp>
      <p:sp>
        <p:nvSpPr>
          <p:cNvPr id="5" name="Slide Number Placeholder 4">
            <a:extLst>
              <a:ext uri="{FF2B5EF4-FFF2-40B4-BE49-F238E27FC236}">
                <a16:creationId xmlns:a16="http://schemas.microsoft.com/office/drawing/2014/main" id="{AFB89BE2-A163-D720-3FD9-E38EF86DF879}"/>
              </a:ext>
            </a:extLst>
          </p:cNvPr>
          <p:cNvSpPr>
            <a:spLocks noGrp="1"/>
          </p:cNvSpPr>
          <p:nvPr>
            <p:ph type="sldNum" sz="quarter" idx="4"/>
          </p:nvPr>
        </p:nvSpPr>
        <p:spPr/>
        <p:txBody>
          <a:bodyPr/>
          <a:lstStyle/>
          <a:p>
            <a:fld id="{E75C2C89-F887-4946-9289-77479B29E3CB}" type="slidenum">
              <a:rPr lang="en-US" smtClean="0"/>
              <a:pPr/>
              <a:t>13</a:t>
            </a:fld>
            <a:endParaRPr lang="en-US"/>
          </a:p>
        </p:txBody>
      </p:sp>
      <p:sp>
        <p:nvSpPr>
          <p:cNvPr id="7" name="Text Placeholder 6">
            <a:extLst>
              <a:ext uri="{FF2B5EF4-FFF2-40B4-BE49-F238E27FC236}">
                <a16:creationId xmlns:a16="http://schemas.microsoft.com/office/drawing/2014/main" id="{76421159-5781-869A-A235-53B5D84A92AB}"/>
              </a:ext>
            </a:extLst>
          </p:cNvPr>
          <p:cNvSpPr>
            <a:spLocks noGrp="1"/>
          </p:cNvSpPr>
          <p:nvPr>
            <p:ph type="body" sz="quarter" idx="24"/>
          </p:nvPr>
        </p:nvSpPr>
        <p:spPr/>
        <p:txBody>
          <a:bodyPr/>
          <a:lstStyle/>
          <a:p>
            <a:r>
              <a:rPr lang="ar-SA" dirty="0"/>
              <a:t>نظرة عامة</a:t>
            </a:r>
            <a:endParaRPr lang="en-GB" dirty="0"/>
          </a:p>
        </p:txBody>
      </p:sp>
      <p:pic>
        <p:nvPicPr>
          <p:cNvPr id="14" name="Picture 13">
            <a:extLst>
              <a:ext uri="{FF2B5EF4-FFF2-40B4-BE49-F238E27FC236}">
                <a16:creationId xmlns:a16="http://schemas.microsoft.com/office/drawing/2014/main" id="{2671714A-B030-6E70-741D-2C65059B356A}"/>
              </a:ext>
            </a:extLst>
          </p:cNvPr>
          <p:cNvPicPr>
            <a:picLocks noChangeAspect="1"/>
          </p:cNvPicPr>
          <p:nvPr/>
        </p:nvPicPr>
        <p:blipFill>
          <a:blip r:embed="rId2"/>
          <a:stretch>
            <a:fillRect/>
          </a:stretch>
        </p:blipFill>
        <p:spPr>
          <a:xfrm>
            <a:off x="345870" y="1720493"/>
            <a:ext cx="8560059" cy="4516405"/>
          </a:xfrm>
          <a:prstGeom prst="rect">
            <a:avLst/>
          </a:prstGeom>
        </p:spPr>
      </p:pic>
      <p:sp>
        <p:nvSpPr>
          <p:cNvPr id="10" name="Free-form: Shape 9">
            <a:extLst>
              <a:ext uri="{FF2B5EF4-FFF2-40B4-BE49-F238E27FC236}">
                <a16:creationId xmlns:a16="http://schemas.microsoft.com/office/drawing/2014/main" id="{52BFE0F7-B1CE-A80C-9F50-3932DB69CEB1}"/>
              </a:ext>
            </a:extLst>
          </p:cNvPr>
          <p:cNvSpPr/>
          <p:nvPr/>
        </p:nvSpPr>
        <p:spPr>
          <a:xfrm>
            <a:off x="345870" y="1715076"/>
            <a:ext cx="8560059" cy="4521822"/>
          </a:xfrm>
          <a:custGeom>
            <a:avLst/>
            <a:gdLst>
              <a:gd name="connsiteX0" fmla="*/ 3516641 w 8560059"/>
              <a:gd name="connsiteY0" fmla="*/ 1148023 h 4521822"/>
              <a:gd name="connsiteX1" fmla="*/ 3478282 w 8560059"/>
              <a:gd name="connsiteY1" fmla="*/ 1186383 h 4521822"/>
              <a:gd name="connsiteX2" fmla="*/ 3478282 w 8560059"/>
              <a:gd name="connsiteY2" fmla="*/ 1358480 h 4521822"/>
              <a:gd name="connsiteX3" fmla="*/ 3516641 w 8560059"/>
              <a:gd name="connsiteY3" fmla="*/ 1396840 h 4521822"/>
              <a:gd name="connsiteX4" fmla="*/ 3670077 w 8560059"/>
              <a:gd name="connsiteY4" fmla="*/ 1396840 h 4521822"/>
              <a:gd name="connsiteX5" fmla="*/ 3708436 w 8560059"/>
              <a:gd name="connsiteY5" fmla="*/ 1358480 h 4521822"/>
              <a:gd name="connsiteX6" fmla="*/ 3708436 w 8560059"/>
              <a:gd name="connsiteY6" fmla="*/ 1186383 h 4521822"/>
              <a:gd name="connsiteX7" fmla="*/ 3670077 w 8560059"/>
              <a:gd name="connsiteY7" fmla="*/ 1148023 h 4521822"/>
              <a:gd name="connsiteX8" fmla="*/ 3280266 w 8560059"/>
              <a:gd name="connsiteY8" fmla="*/ 1148023 h 4521822"/>
              <a:gd name="connsiteX9" fmla="*/ 3241907 w 8560059"/>
              <a:gd name="connsiteY9" fmla="*/ 1186383 h 4521822"/>
              <a:gd name="connsiteX10" fmla="*/ 3241907 w 8560059"/>
              <a:gd name="connsiteY10" fmla="*/ 1358480 h 4521822"/>
              <a:gd name="connsiteX11" fmla="*/ 3280266 w 8560059"/>
              <a:gd name="connsiteY11" fmla="*/ 1396840 h 4521822"/>
              <a:gd name="connsiteX12" fmla="*/ 3433701 w 8560059"/>
              <a:gd name="connsiteY12" fmla="*/ 1396840 h 4521822"/>
              <a:gd name="connsiteX13" fmla="*/ 3472061 w 8560059"/>
              <a:gd name="connsiteY13" fmla="*/ 1358480 h 4521822"/>
              <a:gd name="connsiteX14" fmla="*/ 3472061 w 8560059"/>
              <a:gd name="connsiteY14" fmla="*/ 1186383 h 4521822"/>
              <a:gd name="connsiteX15" fmla="*/ 3433701 w 8560059"/>
              <a:gd name="connsiteY15" fmla="*/ 1148023 h 4521822"/>
              <a:gd name="connsiteX16" fmla="*/ 3043891 w 8560059"/>
              <a:gd name="connsiteY16" fmla="*/ 1147264 h 4521822"/>
              <a:gd name="connsiteX17" fmla="*/ 3005531 w 8560059"/>
              <a:gd name="connsiteY17" fmla="*/ 1185624 h 4521822"/>
              <a:gd name="connsiteX18" fmla="*/ 3005531 w 8560059"/>
              <a:gd name="connsiteY18" fmla="*/ 1357721 h 4521822"/>
              <a:gd name="connsiteX19" fmla="*/ 3043891 w 8560059"/>
              <a:gd name="connsiteY19" fmla="*/ 1396081 h 4521822"/>
              <a:gd name="connsiteX20" fmla="*/ 3197326 w 8560059"/>
              <a:gd name="connsiteY20" fmla="*/ 1396081 h 4521822"/>
              <a:gd name="connsiteX21" fmla="*/ 3235686 w 8560059"/>
              <a:gd name="connsiteY21" fmla="*/ 1357721 h 4521822"/>
              <a:gd name="connsiteX22" fmla="*/ 3235686 w 8560059"/>
              <a:gd name="connsiteY22" fmla="*/ 1185624 h 4521822"/>
              <a:gd name="connsiteX23" fmla="*/ 3197326 w 8560059"/>
              <a:gd name="connsiteY23" fmla="*/ 1147264 h 4521822"/>
              <a:gd name="connsiteX24" fmla="*/ 0 w 8560059"/>
              <a:gd name="connsiteY24" fmla="*/ 0 h 4521822"/>
              <a:gd name="connsiteX25" fmla="*/ 8560059 w 8560059"/>
              <a:gd name="connsiteY25" fmla="*/ 0 h 4521822"/>
              <a:gd name="connsiteX26" fmla="*/ 8560059 w 8560059"/>
              <a:gd name="connsiteY26" fmla="*/ 4521822 h 4521822"/>
              <a:gd name="connsiteX27" fmla="*/ 0 w 8560059"/>
              <a:gd name="connsiteY27" fmla="*/ 4521822 h 45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60059" h="4521822">
                <a:moveTo>
                  <a:pt x="3516641" y="1148023"/>
                </a:moveTo>
                <a:cubicBezTo>
                  <a:pt x="3495456" y="1148023"/>
                  <a:pt x="3478282" y="1165197"/>
                  <a:pt x="3478282" y="1186383"/>
                </a:cubicBezTo>
                <a:lnTo>
                  <a:pt x="3478282" y="1358480"/>
                </a:lnTo>
                <a:cubicBezTo>
                  <a:pt x="3478282" y="1379666"/>
                  <a:pt x="3495456" y="1396840"/>
                  <a:pt x="3516641" y="1396840"/>
                </a:cubicBezTo>
                <a:lnTo>
                  <a:pt x="3670077" y="1396840"/>
                </a:lnTo>
                <a:cubicBezTo>
                  <a:pt x="3691262" y="1396840"/>
                  <a:pt x="3708436" y="1379666"/>
                  <a:pt x="3708436" y="1358480"/>
                </a:cubicBezTo>
                <a:lnTo>
                  <a:pt x="3708436" y="1186383"/>
                </a:lnTo>
                <a:cubicBezTo>
                  <a:pt x="3708436" y="1165197"/>
                  <a:pt x="3691262" y="1148023"/>
                  <a:pt x="3670077" y="1148023"/>
                </a:cubicBezTo>
                <a:close/>
                <a:moveTo>
                  <a:pt x="3280266" y="1148023"/>
                </a:moveTo>
                <a:cubicBezTo>
                  <a:pt x="3259080" y="1148023"/>
                  <a:pt x="3241907" y="1165197"/>
                  <a:pt x="3241907" y="1186383"/>
                </a:cubicBezTo>
                <a:lnTo>
                  <a:pt x="3241907" y="1358480"/>
                </a:lnTo>
                <a:cubicBezTo>
                  <a:pt x="3241907" y="1379666"/>
                  <a:pt x="3259080" y="1396840"/>
                  <a:pt x="3280266" y="1396840"/>
                </a:cubicBezTo>
                <a:lnTo>
                  <a:pt x="3433701" y="1396840"/>
                </a:lnTo>
                <a:cubicBezTo>
                  <a:pt x="3454887" y="1396840"/>
                  <a:pt x="3472061" y="1379666"/>
                  <a:pt x="3472061" y="1358480"/>
                </a:cubicBezTo>
                <a:lnTo>
                  <a:pt x="3472061" y="1186383"/>
                </a:lnTo>
                <a:cubicBezTo>
                  <a:pt x="3472061" y="1165197"/>
                  <a:pt x="3454887" y="1148023"/>
                  <a:pt x="3433701" y="1148023"/>
                </a:cubicBezTo>
                <a:close/>
                <a:moveTo>
                  <a:pt x="3043891" y="1147264"/>
                </a:moveTo>
                <a:cubicBezTo>
                  <a:pt x="3022705" y="1147264"/>
                  <a:pt x="3005531" y="1164438"/>
                  <a:pt x="3005531" y="1185624"/>
                </a:cubicBezTo>
                <a:lnTo>
                  <a:pt x="3005531" y="1357721"/>
                </a:lnTo>
                <a:cubicBezTo>
                  <a:pt x="3005531" y="1378907"/>
                  <a:pt x="3022705" y="1396081"/>
                  <a:pt x="3043891" y="1396081"/>
                </a:cubicBezTo>
                <a:lnTo>
                  <a:pt x="3197326" y="1396081"/>
                </a:lnTo>
                <a:cubicBezTo>
                  <a:pt x="3218512" y="1396081"/>
                  <a:pt x="3235686" y="1378907"/>
                  <a:pt x="3235686" y="1357721"/>
                </a:cubicBezTo>
                <a:lnTo>
                  <a:pt x="3235686" y="1185624"/>
                </a:lnTo>
                <a:cubicBezTo>
                  <a:pt x="3235686" y="1164438"/>
                  <a:pt x="3218512" y="1147264"/>
                  <a:pt x="3197326" y="1147264"/>
                </a:cubicBezTo>
                <a:close/>
                <a:moveTo>
                  <a:pt x="0" y="0"/>
                </a:moveTo>
                <a:lnTo>
                  <a:pt x="8560059" y="0"/>
                </a:lnTo>
                <a:lnTo>
                  <a:pt x="8560059" y="4521822"/>
                </a:lnTo>
                <a:lnTo>
                  <a:pt x="0" y="4521822"/>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TextBox 10">
            <a:extLst>
              <a:ext uri="{FF2B5EF4-FFF2-40B4-BE49-F238E27FC236}">
                <a16:creationId xmlns:a16="http://schemas.microsoft.com/office/drawing/2014/main" id="{73A90B21-8121-3702-1976-BC9EB860D881}"/>
              </a:ext>
            </a:extLst>
          </p:cNvPr>
          <p:cNvSpPr txBox="1"/>
          <p:nvPr/>
        </p:nvSpPr>
        <p:spPr>
          <a:xfrm>
            <a:off x="3884644" y="2620451"/>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2" name="TextBox 11">
            <a:extLst>
              <a:ext uri="{FF2B5EF4-FFF2-40B4-BE49-F238E27FC236}">
                <a16:creationId xmlns:a16="http://schemas.microsoft.com/office/drawing/2014/main" id="{7C35336A-CBD6-79F5-826C-028374158974}"/>
              </a:ext>
            </a:extLst>
          </p:cNvPr>
          <p:cNvSpPr txBox="1"/>
          <p:nvPr/>
        </p:nvSpPr>
        <p:spPr>
          <a:xfrm>
            <a:off x="3666305" y="2620451"/>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3" name="TextBox 12">
            <a:extLst>
              <a:ext uri="{FF2B5EF4-FFF2-40B4-BE49-F238E27FC236}">
                <a16:creationId xmlns:a16="http://schemas.microsoft.com/office/drawing/2014/main" id="{7245AAEF-9814-FCCC-7709-A07D43B02965}"/>
              </a:ext>
            </a:extLst>
          </p:cNvPr>
          <p:cNvSpPr txBox="1"/>
          <p:nvPr/>
        </p:nvSpPr>
        <p:spPr>
          <a:xfrm>
            <a:off x="3427901" y="2620451"/>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9" name="Title 7">
            <a:extLst>
              <a:ext uri="{FF2B5EF4-FFF2-40B4-BE49-F238E27FC236}">
                <a16:creationId xmlns:a16="http://schemas.microsoft.com/office/drawing/2014/main" id="{D0F91A31-E255-2AF5-F66D-F76928A13A3E}"/>
              </a:ext>
            </a:extLst>
          </p:cNvPr>
          <p:cNvSpPr>
            <a:spLocks noGrp="1"/>
          </p:cNvSpPr>
          <p:nvPr>
            <p:ph type="title"/>
          </p:nvPr>
        </p:nvSpPr>
        <p:spPr>
          <a:xfrm>
            <a:off x="534825" y="228609"/>
            <a:ext cx="10936449" cy="334099"/>
          </a:xfrm>
        </p:spPr>
        <p:txBody>
          <a:bodyPr/>
          <a:lstStyle/>
          <a:p>
            <a:r>
              <a:rPr lang="ar-SA" dirty="0"/>
              <a:t>مركز المهام</a:t>
            </a:r>
            <a:endParaRPr lang="en-GB" dirty="0"/>
          </a:p>
        </p:txBody>
      </p:sp>
    </p:spTree>
    <p:extLst>
      <p:ext uri="{BB962C8B-B14F-4D97-AF65-F5344CB8AC3E}">
        <p14:creationId xmlns:p14="http://schemas.microsoft.com/office/powerpoint/2010/main" val="2410434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D985BF2-0E11-EDA2-E06A-830FE16960DD}"/>
              </a:ext>
            </a:extLst>
          </p:cNvPr>
          <p:cNvSpPr>
            <a:spLocks noGrp="1"/>
          </p:cNvSpPr>
          <p:nvPr>
            <p:ph type="sldNum" sz="quarter" idx="4"/>
          </p:nvPr>
        </p:nvSpPr>
        <p:spPr/>
        <p:txBody>
          <a:bodyPr/>
          <a:lstStyle/>
          <a:p>
            <a:fld id="{E75C2C89-F887-4946-9289-77479B29E3CB}" type="slidenum">
              <a:rPr lang="en-US" smtClean="0"/>
              <a:pPr/>
              <a:t>14</a:t>
            </a:fld>
            <a:endParaRPr lang="en-US"/>
          </a:p>
        </p:txBody>
      </p:sp>
      <p:sp>
        <p:nvSpPr>
          <p:cNvPr id="7" name="Text Placeholder 6">
            <a:extLst>
              <a:ext uri="{FF2B5EF4-FFF2-40B4-BE49-F238E27FC236}">
                <a16:creationId xmlns:a16="http://schemas.microsoft.com/office/drawing/2014/main" id="{0C8C2032-A83F-9FEC-4C14-4346F7585BAB}"/>
              </a:ext>
            </a:extLst>
          </p:cNvPr>
          <p:cNvSpPr>
            <a:spLocks noGrp="1"/>
          </p:cNvSpPr>
          <p:nvPr>
            <p:ph type="body" sz="quarter" idx="24"/>
          </p:nvPr>
        </p:nvSpPr>
        <p:spPr/>
        <p:txBody>
          <a:bodyPr/>
          <a:lstStyle/>
          <a:p>
            <a:r>
              <a:rPr lang="ar-SA" dirty="0"/>
              <a:t>الموافقة والرفض</a:t>
            </a:r>
            <a:endParaRPr lang="en-GB" dirty="0"/>
          </a:p>
        </p:txBody>
      </p:sp>
      <p:sp>
        <p:nvSpPr>
          <p:cNvPr id="24" name="Chart Placeholder 2">
            <a:extLst>
              <a:ext uri="{FF2B5EF4-FFF2-40B4-BE49-F238E27FC236}">
                <a16:creationId xmlns:a16="http://schemas.microsoft.com/office/drawing/2014/main" id="{67221882-2005-4BD4-8B61-ADDDAE0A88D5}"/>
              </a:ext>
            </a:extLst>
          </p:cNvPr>
          <p:cNvSpPr>
            <a:spLocks noGrp="1"/>
          </p:cNvSpPr>
          <p:nvPr>
            <p:ph type="chart" sz="quarter" idx="21"/>
          </p:nvPr>
        </p:nvSpPr>
        <p:spPr>
          <a:xfrm>
            <a:off x="9316720" y="1890249"/>
            <a:ext cx="2632757" cy="4421564"/>
          </a:xfrm>
        </p:spPr>
        <p:txBody>
          <a:bodyPr/>
          <a:lstStyle/>
          <a:p>
            <a:r>
              <a:rPr lang="ar-SA" dirty="0"/>
              <a:t>في حالة الرفض أو الموافقة يعرض النظام نافذة منبثقة للتأكيد على العملية، تحتوي هذه النافذة على الآتي:</a:t>
            </a:r>
          </a:p>
          <a:p>
            <a:pPr marL="342900" indent="-342900">
              <a:buFont typeface="+mj-lt"/>
              <a:buAutoNum type="arabicPeriod"/>
            </a:pPr>
            <a:r>
              <a:rPr lang="ar-SA" dirty="0"/>
              <a:t>مرئيات</a:t>
            </a:r>
          </a:p>
          <a:p>
            <a:pPr marL="342900" indent="-342900">
              <a:buFont typeface="+mj-lt"/>
              <a:buAutoNum type="arabicPeriod"/>
            </a:pPr>
            <a:r>
              <a:rPr lang="ar-SA" dirty="0"/>
              <a:t>مرفق</a:t>
            </a:r>
          </a:p>
          <a:p>
            <a:endParaRPr lang="ar-SA" dirty="0"/>
          </a:p>
        </p:txBody>
      </p:sp>
      <p:pic>
        <p:nvPicPr>
          <p:cNvPr id="12" name="Picture 11">
            <a:extLst>
              <a:ext uri="{FF2B5EF4-FFF2-40B4-BE49-F238E27FC236}">
                <a16:creationId xmlns:a16="http://schemas.microsoft.com/office/drawing/2014/main" id="{19F3BB10-1FC3-87EF-D32F-A8AAB3E6FA99}"/>
              </a:ext>
            </a:extLst>
          </p:cNvPr>
          <p:cNvPicPr>
            <a:picLocks noChangeAspect="1"/>
          </p:cNvPicPr>
          <p:nvPr/>
        </p:nvPicPr>
        <p:blipFill>
          <a:blip r:embed="rId2"/>
          <a:stretch>
            <a:fillRect/>
          </a:stretch>
        </p:blipFill>
        <p:spPr>
          <a:xfrm>
            <a:off x="242523" y="1890250"/>
            <a:ext cx="4331462" cy="3778299"/>
          </a:xfrm>
          <a:prstGeom prst="rect">
            <a:avLst/>
          </a:prstGeom>
        </p:spPr>
      </p:pic>
      <p:pic>
        <p:nvPicPr>
          <p:cNvPr id="14" name="Picture 13">
            <a:extLst>
              <a:ext uri="{FF2B5EF4-FFF2-40B4-BE49-F238E27FC236}">
                <a16:creationId xmlns:a16="http://schemas.microsoft.com/office/drawing/2014/main" id="{CE1DC626-DBF3-20A2-F8CB-770F206A174B}"/>
              </a:ext>
            </a:extLst>
          </p:cNvPr>
          <p:cNvPicPr>
            <a:picLocks noChangeAspect="1"/>
          </p:cNvPicPr>
          <p:nvPr/>
        </p:nvPicPr>
        <p:blipFill>
          <a:blip r:embed="rId3"/>
          <a:srcRect r="-1843"/>
          <a:stretch/>
        </p:blipFill>
        <p:spPr>
          <a:xfrm>
            <a:off x="4737971" y="1890249"/>
            <a:ext cx="4455512" cy="3778299"/>
          </a:xfrm>
          <a:prstGeom prst="rect">
            <a:avLst/>
          </a:prstGeom>
        </p:spPr>
      </p:pic>
      <p:sp>
        <p:nvSpPr>
          <p:cNvPr id="15" name="Free-form: Shape 14">
            <a:extLst>
              <a:ext uri="{FF2B5EF4-FFF2-40B4-BE49-F238E27FC236}">
                <a16:creationId xmlns:a16="http://schemas.microsoft.com/office/drawing/2014/main" id="{49A78AE9-A9D2-5521-B530-2492A5D82791}"/>
              </a:ext>
            </a:extLst>
          </p:cNvPr>
          <p:cNvSpPr/>
          <p:nvPr/>
        </p:nvSpPr>
        <p:spPr>
          <a:xfrm>
            <a:off x="242524" y="1890249"/>
            <a:ext cx="4331462" cy="3778299"/>
          </a:xfrm>
          <a:custGeom>
            <a:avLst/>
            <a:gdLst>
              <a:gd name="connsiteX0" fmla="*/ 287222 w 4331462"/>
              <a:gd name="connsiteY0" fmla="*/ 1889148 h 3778299"/>
              <a:gd name="connsiteX1" fmla="*/ 87414 w 4331462"/>
              <a:gd name="connsiteY1" fmla="*/ 2088956 h 3778299"/>
              <a:gd name="connsiteX2" fmla="*/ 87414 w 4331462"/>
              <a:gd name="connsiteY2" fmla="*/ 2888167 h 3778299"/>
              <a:gd name="connsiteX3" fmla="*/ 287222 w 4331462"/>
              <a:gd name="connsiteY3" fmla="*/ 3087975 h 3778299"/>
              <a:gd name="connsiteX4" fmla="*/ 4044238 w 4331462"/>
              <a:gd name="connsiteY4" fmla="*/ 3087975 h 3778299"/>
              <a:gd name="connsiteX5" fmla="*/ 4244046 w 4331462"/>
              <a:gd name="connsiteY5" fmla="*/ 2888167 h 3778299"/>
              <a:gd name="connsiteX6" fmla="*/ 4244046 w 4331462"/>
              <a:gd name="connsiteY6" fmla="*/ 2088956 h 3778299"/>
              <a:gd name="connsiteX7" fmla="*/ 4044238 w 4331462"/>
              <a:gd name="connsiteY7" fmla="*/ 1889148 h 3778299"/>
              <a:gd name="connsiteX8" fmla="*/ 287222 w 4331462"/>
              <a:gd name="connsiteY8" fmla="*/ 643168 h 3778299"/>
              <a:gd name="connsiteX9" fmla="*/ 87414 w 4331462"/>
              <a:gd name="connsiteY9" fmla="*/ 842976 h 3778299"/>
              <a:gd name="connsiteX10" fmla="*/ 87414 w 4331462"/>
              <a:gd name="connsiteY10" fmla="*/ 1642187 h 3778299"/>
              <a:gd name="connsiteX11" fmla="*/ 287222 w 4331462"/>
              <a:gd name="connsiteY11" fmla="*/ 1841995 h 3778299"/>
              <a:gd name="connsiteX12" fmla="*/ 4044238 w 4331462"/>
              <a:gd name="connsiteY12" fmla="*/ 1841995 h 3778299"/>
              <a:gd name="connsiteX13" fmla="*/ 4244046 w 4331462"/>
              <a:gd name="connsiteY13" fmla="*/ 1642187 h 3778299"/>
              <a:gd name="connsiteX14" fmla="*/ 4244046 w 4331462"/>
              <a:gd name="connsiteY14" fmla="*/ 842976 h 3778299"/>
              <a:gd name="connsiteX15" fmla="*/ 4044238 w 4331462"/>
              <a:gd name="connsiteY15" fmla="*/ 643168 h 3778299"/>
              <a:gd name="connsiteX16" fmla="*/ 0 w 4331462"/>
              <a:gd name="connsiteY16" fmla="*/ 0 h 3778299"/>
              <a:gd name="connsiteX17" fmla="*/ 4331462 w 4331462"/>
              <a:gd name="connsiteY17" fmla="*/ 0 h 3778299"/>
              <a:gd name="connsiteX18" fmla="*/ 4331462 w 4331462"/>
              <a:gd name="connsiteY18" fmla="*/ 3778299 h 3778299"/>
              <a:gd name="connsiteX19" fmla="*/ 0 w 4331462"/>
              <a:gd name="connsiteY19" fmla="*/ 3778299 h 3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31462" h="3778299">
                <a:moveTo>
                  <a:pt x="287222" y="1889148"/>
                </a:moveTo>
                <a:cubicBezTo>
                  <a:pt x="176871" y="1889148"/>
                  <a:pt x="87414" y="1978605"/>
                  <a:pt x="87414" y="2088956"/>
                </a:cubicBezTo>
                <a:lnTo>
                  <a:pt x="87414" y="2888167"/>
                </a:lnTo>
                <a:cubicBezTo>
                  <a:pt x="87414" y="2998518"/>
                  <a:pt x="176871" y="3087975"/>
                  <a:pt x="287222" y="3087975"/>
                </a:cubicBezTo>
                <a:lnTo>
                  <a:pt x="4044238" y="3087975"/>
                </a:lnTo>
                <a:cubicBezTo>
                  <a:pt x="4154589" y="3087975"/>
                  <a:pt x="4244046" y="2998518"/>
                  <a:pt x="4244046" y="2888167"/>
                </a:cubicBezTo>
                <a:lnTo>
                  <a:pt x="4244046" y="2088956"/>
                </a:lnTo>
                <a:cubicBezTo>
                  <a:pt x="4244046" y="1978605"/>
                  <a:pt x="4154589" y="1889148"/>
                  <a:pt x="4044238" y="1889148"/>
                </a:cubicBezTo>
                <a:close/>
                <a:moveTo>
                  <a:pt x="287222" y="643168"/>
                </a:moveTo>
                <a:cubicBezTo>
                  <a:pt x="176871" y="643168"/>
                  <a:pt x="87414" y="732625"/>
                  <a:pt x="87414" y="842976"/>
                </a:cubicBezTo>
                <a:lnTo>
                  <a:pt x="87414" y="1642187"/>
                </a:lnTo>
                <a:cubicBezTo>
                  <a:pt x="87414" y="1752538"/>
                  <a:pt x="176871" y="1841995"/>
                  <a:pt x="287222" y="1841995"/>
                </a:cubicBezTo>
                <a:lnTo>
                  <a:pt x="4044238" y="1841995"/>
                </a:lnTo>
                <a:cubicBezTo>
                  <a:pt x="4154589" y="1841995"/>
                  <a:pt x="4244046" y="1752538"/>
                  <a:pt x="4244046" y="1642187"/>
                </a:cubicBezTo>
                <a:lnTo>
                  <a:pt x="4244046" y="842976"/>
                </a:lnTo>
                <a:cubicBezTo>
                  <a:pt x="4244046" y="732625"/>
                  <a:pt x="4154589" y="643168"/>
                  <a:pt x="4044238" y="643168"/>
                </a:cubicBezTo>
                <a:close/>
                <a:moveTo>
                  <a:pt x="0" y="0"/>
                </a:moveTo>
                <a:lnTo>
                  <a:pt x="4331462" y="0"/>
                </a:lnTo>
                <a:lnTo>
                  <a:pt x="4331462" y="3778299"/>
                </a:lnTo>
                <a:lnTo>
                  <a:pt x="0" y="377829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5A32B53A-780E-5B8D-6FFC-B9B6888A55AF}"/>
              </a:ext>
            </a:extLst>
          </p:cNvPr>
          <p:cNvSpPr/>
          <p:nvPr/>
        </p:nvSpPr>
        <p:spPr>
          <a:xfrm>
            <a:off x="4737969" y="1890248"/>
            <a:ext cx="4368709" cy="3778299"/>
          </a:xfrm>
          <a:custGeom>
            <a:avLst/>
            <a:gdLst>
              <a:gd name="connsiteX0" fmla="*/ 328875 w 4368709"/>
              <a:gd name="connsiteY0" fmla="*/ 1877063 h 3778299"/>
              <a:gd name="connsiteX1" fmla="*/ 129067 w 4368709"/>
              <a:gd name="connsiteY1" fmla="*/ 2076871 h 3778299"/>
              <a:gd name="connsiteX2" fmla="*/ 129067 w 4368709"/>
              <a:gd name="connsiteY2" fmla="*/ 2876082 h 3778299"/>
              <a:gd name="connsiteX3" fmla="*/ 328875 w 4368709"/>
              <a:gd name="connsiteY3" fmla="*/ 3075890 h 3778299"/>
              <a:gd name="connsiteX4" fmla="*/ 4085891 w 4368709"/>
              <a:gd name="connsiteY4" fmla="*/ 3075890 h 3778299"/>
              <a:gd name="connsiteX5" fmla="*/ 4285699 w 4368709"/>
              <a:gd name="connsiteY5" fmla="*/ 2876082 h 3778299"/>
              <a:gd name="connsiteX6" fmla="*/ 4285699 w 4368709"/>
              <a:gd name="connsiteY6" fmla="*/ 2076871 h 3778299"/>
              <a:gd name="connsiteX7" fmla="*/ 4085891 w 4368709"/>
              <a:gd name="connsiteY7" fmla="*/ 1877063 h 3778299"/>
              <a:gd name="connsiteX8" fmla="*/ 306137 w 4368709"/>
              <a:gd name="connsiteY8" fmla="*/ 643169 h 3778299"/>
              <a:gd name="connsiteX9" fmla="*/ 106329 w 4368709"/>
              <a:gd name="connsiteY9" fmla="*/ 842977 h 3778299"/>
              <a:gd name="connsiteX10" fmla="*/ 106329 w 4368709"/>
              <a:gd name="connsiteY10" fmla="*/ 1642188 h 3778299"/>
              <a:gd name="connsiteX11" fmla="*/ 306137 w 4368709"/>
              <a:gd name="connsiteY11" fmla="*/ 1841996 h 3778299"/>
              <a:gd name="connsiteX12" fmla="*/ 4063153 w 4368709"/>
              <a:gd name="connsiteY12" fmla="*/ 1841996 h 3778299"/>
              <a:gd name="connsiteX13" fmla="*/ 4262961 w 4368709"/>
              <a:gd name="connsiteY13" fmla="*/ 1642188 h 3778299"/>
              <a:gd name="connsiteX14" fmla="*/ 4262961 w 4368709"/>
              <a:gd name="connsiteY14" fmla="*/ 842977 h 3778299"/>
              <a:gd name="connsiteX15" fmla="*/ 4063153 w 4368709"/>
              <a:gd name="connsiteY15" fmla="*/ 643169 h 3778299"/>
              <a:gd name="connsiteX16" fmla="*/ 0 w 4368709"/>
              <a:gd name="connsiteY16" fmla="*/ 0 h 3778299"/>
              <a:gd name="connsiteX17" fmla="*/ 4368709 w 4368709"/>
              <a:gd name="connsiteY17" fmla="*/ 0 h 3778299"/>
              <a:gd name="connsiteX18" fmla="*/ 4368709 w 4368709"/>
              <a:gd name="connsiteY18" fmla="*/ 3778299 h 3778299"/>
              <a:gd name="connsiteX19" fmla="*/ 0 w 4368709"/>
              <a:gd name="connsiteY19" fmla="*/ 3778299 h 3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68709" h="3778299">
                <a:moveTo>
                  <a:pt x="328875" y="1877063"/>
                </a:moveTo>
                <a:cubicBezTo>
                  <a:pt x="218524" y="1877063"/>
                  <a:pt x="129067" y="1966520"/>
                  <a:pt x="129067" y="2076871"/>
                </a:cubicBezTo>
                <a:lnTo>
                  <a:pt x="129067" y="2876082"/>
                </a:lnTo>
                <a:cubicBezTo>
                  <a:pt x="129067" y="2986433"/>
                  <a:pt x="218524" y="3075890"/>
                  <a:pt x="328875" y="3075890"/>
                </a:cubicBezTo>
                <a:lnTo>
                  <a:pt x="4085891" y="3075890"/>
                </a:lnTo>
                <a:cubicBezTo>
                  <a:pt x="4196242" y="3075890"/>
                  <a:pt x="4285699" y="2986433"/>
                  <a:pt x="4285699" y="2876082"/>
                </a:cubicBezTo>
                <a:lnTo>
                  <a:pt x="4285699" y="2076871"/>
                </a:lnTo>
                <a:cubicBezTo>
                  <a:pt x="4285699" y="1966520"/>
                  <a:pt x="4196242" y="1877063"/>
                  <a:pt x="4085891" y="1877063"/>
                </a:cubicBezTo>
                <a:close/>
                <a:moveTo>
                  <a:pt x="306137" y="643169"/>
                </a:moveTo>
                <a:cubicBezTo>
                  <a:pt x="195786" y="643169"/>
                  <a:pt x="106329" y="732626"/>
                  <a:pt x="106329" y="842977"/>
                </a:cubicBezTo>
                <a:lnTo>
                  <a:pt x="106329" y="1642188"/>
                </a:lnTo>
                <a:cubicBezTo>
                  <a:pt x="106329" y="1752539"/>
                  <a:pt x="195786" y="1841996"/>
                  <a:pt x="306137" y="1841996"/>
                </a:cubicBezTo>
                <a:lnTo>
                  <a:pt x="4063153" y="1841996"/>
                </a:lnTo>
                <a:cubicBezTo>
                  <a:pt x="4173504" y="1841996"/>
                  <a:pt x="4262961" y="1752539"/>
                  <a:pt x="4262961" y="1642188"/>
                </a:cubicBezTo>
                <a:lnTo>
                  <a:pt x="4262961" y="842977"/>
                </a:lnTo>
                <a:cubicBezTo>
                  <a:pt x="4262961" y="732626"/>
                  <a:pt x="4173504" y="643169"/>
                  <a:pt x="4063153" y="643169"/>
                </a:cubicBezTo>
                <a:close/>
                <a:moveTo>
                  <a:pt x="0" y="0"/>
                </a:moveTo>
                <a:lnTo>
                  <a:pt x="4368709" y="0"/>
                </a:lnTo>
                <a:lnTo>
                  <a:pt x="4368709" y="3778299"/>
                </a:lnTo>
                <a:lnTo>
                  <a:pt x="0" y="377829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Box 15">
            <a:extLst>
              <a:ext uri="{FF2B5EF4-FFF2-40B4-BE49-F238E27FC236}">
                <a16:creationId xmlns:a16="http://schemas.microsoft.com/office/drawing/2014/main" id="{13487202-4878-2913-5CFF-0088420E6F0A}"/>
              </a:ext>
            </a:extLst>
          </p:cNvPr>
          <p:cNvSpPr txBox="1"/>
          <p:nvPr/>
        </p:nvSpPr>
        <p:spPr>
          <a:xfrm>
            <a:off x="8910734" y="2315651"/>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7" name="TextBox 16">
            <a:extLst>
              <a:ext uri="{FF2B5EF4-FFF2-40B4-BE49-F238E27FC236}">
                <a16:creationId xmlns:a16="http://schemas.microsoft.com/office/drawing/2014/main" id="{C28A8AE9-AA31-5737-8114-AC01CCB082FC}"/>
              </a:ext>
            </a:extLst>
          </p:cNvPr>
          <p:cNvSpPr txBox="1"/>
          <p:nvPr/>
        </p:nvSpPr>
        <p:spPr>
          <a:xfrm>
            <a:off x="4380133" y="2315650"/>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8" name="TextBox 17">
            <a:extLst>
              <a:ext uri="{FF2B5EF4-FFF2-40B4-BE49-F238E27FC236}">
                <a16:creationId xmlns:a16="http://schemas.microsoft.com/office/drawing/2014/main" id="{0891D1C7-2619-D2B5-A339-BFE43552340D}"/>
              </a:ext>
            </a:extLst>
          </p:cNvPr>
          <p:cNvSpPr txBox="1"/>
          <p:nvPr/>
        </p:nvSpPr>
        <p:spPr>
          <a:xfrm>
            <a:off x="4380132" y="4941172"/>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9" name="TextBox 18">
            <a:extLst>
              <a:ext uri="{FF2B5EF4-FFF2-40B4-BE49-F238E27FC236}">
                <a16:creationId xmlns:a16="http://schemas.microsoft.com/office/drawing/2014/main" id="{5CEA30C2-282C-509B-7101-CCC348A93BF0}"/>
              </a:ext>
            </a:extLst>
          </p:cNvPr>
          <p:cNvSpPr txBox="1"/>
          <p:nvPr/>
        </p:nvSpPr>
        <p:spPr>
          <a:xfrm>
            <a:off x="8910733" y="4941172"/>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6" name="Title 7">
            <a:extLst>
              <a:ext uri="{FF2B5EF4-FFF2-40B4-BE49-F238E27FC236}">
                <a16:creationId xmlns:a16="http://schemas.microsoft.com/office/drawing/2014/main" id="{F0D5B03A-FEA5-7664-72FD-7C73ACA42E1E}"/>
              </a:ext>
            </a:extLst>
          </p:cNvPr>
          <p:cNvSpPr>
            <a:spLocks noGrp="1"/>
          </p:cNvSpPr>
          <p:nvPr>
            <p:ph type="title"/>
          </p:nvPr>
        </p:nvSpPr>
        <p:spPr>
          <a:xfrm>
            <a:off x="534825" y="228609"/>
            <a:ext cx="10936449" cy="334099"/>
          </a:xfrm>
        </p:spPr>
        <p:txBody>
          <a:bodyPr/>
          <a:lstStyle/>
          <a:p>
            <a:r>
              <a:rPr lang="ar-SA" dirty="0"/>
              <a:t>مركز المهام</a:t>
            </a:r>
            <a:endParaRPr lang="en-GB" dirty="0"/>
          </a:p>
        </p:txBody>
      </p:sp>
    </p:spTree>
    <p:extLst>
      <p:ext uri="{BB962C8B-B14F-4D97-AF65-F5344CB8AC3E}">
        <p14:creationId xmlns:p14="http://schemas.microsoft.com/office/powerpoint/2010/main" val="3947533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50EA6CBA-B6F7-19CC-83E4-5720C7BDEB36}"/>
              </a:ext>
            </a:extLst>
          </p:cNvPr>
          <p:cNvSpPr>
            <a:spLocks noGrp="1"/>
          </p:cNvSpPr>
          <p:nvPr>
            <p:ph type="chart" sz="quarter" idx="21"/>
          </p:nvPr>
        </p:nvSpPr>
        <p:spPr>
          <a:xfrm>
            <a:off x="8920480" y="1935303"/>
            <a:ext cx="2957194" cy="4317150"/>
          </a:xfrm>
        </p:spPr>
        <p:txBody>
          <a:bodyPr/>
          <a:lstStyle/>
          <a:p>
            <a:r>
              <a:rPr lang="ar-SA" dirty="0"/>
              <a:t>في تبويب "تحديث المؤشرات" يعرض النظام جميع المؤشرات التي تستوجب تحديث من المستخدم والتي يرتبط بها المستخدم كمسؤول:</a:t>
            </a:r>
          </a:p>
          <a:p>
            <a:pPr marL="342900" indent="-342900">
              <a:buFont typeface="+mj-lt"/>
              <a:buAutoNum type="arabicPeriod"/>
            </a:pPr>
            <a:r>
              <a:rPr lang="ar-SA" dirty="0"/>
              <a:t>تحديث المؤشر</a:t>
            </a:r>
          </a:p>
          <a:p>
            <a:endParaRPr lang="en-GB" dirty="0"/>
          </a:p>
        </p:txBody>
      </p:sp>
      <p:sp>
        <p:nvSpPr>
          <p:cNvPr id="5" name="Slide Number Placeholder 4">
            <a:extLst>
              <a:ext uri="{FF2B5EF4-FFF2-40B4-BE49-F238E27FC236}">
                <a16:creationId xmlns:a16="http://schemas.microsoft.com/office/drawing/2014/main" id="{7B67D483-9541-CAA5-E981-1376FCA97EF6}"/>
              </a:ext>
            </a:extLst>
          </p:cNvPr>
          <p:cNvSpPr>
            <a:spLocks noGrp="1"/>
          </p:cNvSpPr>
          <p:nvPr>
            <p:ph type="sldNum" sz="quarter" idx="4"/>
          </p:nvPr>
        </p:nvSpPr>
        <p:spPr/>
        <p:txBody>
          <a:bodyPr/>
          <a:lstStyle/>
          <a:p>
            <a:fld id="{E75C2C89-F887-4946-9289-77479B29E3CB}" type="slidenum">
              <a:rPr lang="en-US" smtClean="0"/>
              <a:pPr/>
              <a:t>15</a:t>
            </a:fld>
            <a:endParaRPr lang="en-US"/>
          </a:p>
        </p:txBody>
      </p:sp>
      <p:sp>
        <p:nvSpPr>
          <p:cNvPr id="7" name="Text Placeholder 6">
            <a:extLst>
              <a:ext uri="{FF2B5EF4-FFF2-40B4-BE49-F238E27FC236}">
                <a16:creationId xmlns:a16="http://schemas.microsoft.com/office/drawing/2014/main" id="{CDD21EA1-0A33-B019-406F-8547828C5066}"/>
              </a:ext>
            </a:extLst>
          </p:cNvPr>
          <p:cNvSpPr>
            <a:spLocks noGrp="1"/>
          </p:cNvSpPr>
          <p:nvPr>
            <p:ph type="body" sz="quarter" idx="24"/>
          </p:nvPr>
        </p:nvSpPr>
        <p:spPr/>
        <p:txBody>
          <a:bodyPr/>
          <a:lstStyle/>
          <a:p>
            <a:r>
              <a:rPr lang="ar-SA" dirty="0"/>
              <a:t>تحديث المؤشر</a:t>
            </a:r>
            <a:endParaRPr lang="en-GB" dirty="0"/>
          </a:p>
        </p:txBody>
      </p:sp>
      <p:sp>
        <p:nvSpPr>
          <p:cNvPr id="8" name="Title 7">
            <a:extLst>
              <a:ext uri="{FF2B5EF4-FFF2-40B4-BE49-F238E27FC236}">
                <a16:creationId xmlns:a16="http://schemas.microsoft.com/office/drawing/2014/main" id="{6A608319-6F2F-DE16-FD2E-F6FA20ED4161}"/>
              </a:ext>
            </a:extLst>
          </p:cNvPr>
          <p:cNvSpPr>
            <a:spLocks noGrp="1"/>
          </p:cNvSpPr>
          <p:nvPr>
            <p:ph type="title"/>
          </p:nvPr>
        </p:nvSpPr>
        <p:spPr/>
        <p:txBody>
          <a:bodyPr/>
          <a:lstStyle/>
          <a:p>
            <a:r>
              <a:rPr lang="ar-SA" dirty="0"/>
              <a:t>مركز المهام</a:t>
            </a:r>
            <a:endParaRPr lang="en-GB" dirty="0"/>
          </a:p>
        </p:txBody>
      </p:sp>
      <p:pic>
        <p:nvPicPr>
          <p:cNvPr id="17" name="Picture 16">
            <a:extLst>
              <a:ext uri="{FF2B5EF4-FFF2-40B4-BE49-F238E27FC236}">
                <a16:creationId xmlns:a16="http://schemas.microsoft.com/office/drawing/2014/main" id="{D5850F4E-6225-106E-1C68-A92CC689145E}"/>
              </a:ext>
            </a:extLst>
          </p:cNvPr>
          <p:cNvPicPr>
            <a:picLocks noChangeAspect="1"/>
          </p:cNvPicPr>
          <p:nvPr/>
        </p:nvPicPr>
        <p:blipFill>
          <a:blip r:embed="rId2"/>
          <a:stretch>
            <a:fillRect/>
          </a:stretch>
        </p:blipFill>
        <p:spPr>
          <a:xfrm>
            <a:off x="314326" y="1822504"/>
            <a:ext cx="8453754" cy="4451507"/>
          </a:xfrm>
          <a:prstGeom prst="rect">
            <a:avLst/>
          </a:prstGeom>
        </p:spPr>
      </p:pic>
      <p:sp>
        <p:nvSpPr>
          <p:cNvPr id="6" name="Free-form: Shape 5">
            <a:extLst>
              <a:ext uri="{FF2B5EF4-FFF2-40B4-BE49-F238E27FC236}">
                <a16:creationId xmlns:a16="http://schemas.microsoft.com/office/drawing/2014/main" id="{4152DD52-23BD-C266-7BB5-1FEF5D407B9F}"/>
              </a:ext>
            </a:extLst>
          </p:cNvPr>
          <p:cNvSpPr/>
          <p:nvPr/>
        </p:nvSpPr>
        <p:spPr>
          <a:xfrm>
            <a:off x="314326" y="1868124"/>
            <a:ext cx="8453754" cy="4451507"/>
          </a:xfrm>
          <a:custGeom>
            <a:avLst/>
            <a:gdLst>
              <a:gd name="connsiteX0" fmla="*/ 2972798 w 8453754"/>
              <a:gd name="connsiteY0" fmla="*/ 1085171 h 4451507"/>
              <a:gd name="connsiteX1" fmla="*/ 2934438 w 8453754"/>
              <a:gd name="connsiteY1" fmla="*/ 1123531 h 4451507"/>
              <a:gd name="connsiteX2" fmla="*/ 2934438 w 8453754"/>
              <a:gd name="connsiteY2" fmla="*/ 1295628 h 4451507"/>
              <a:gd name="connsiteX3" fmla="*/ 2972798 w 8453754"/>
              <a:gd name="connsiteY3" fmla="*/ 1333988 h 4451507"/>
              <a:gd name="connsiteX4" fmla="*/ 3126233 w 8453754"/>
              <a:gd name="connsiteY4" fmla="*/ 1333988 h 4451507"/>
              <a:gd name="connsiteX5" fmla="*/ 3164593 w 8453754"/>
              <a:gd name="connsiteY5" fmla="*/ 1295628 h 4451507"/>
              <a:gd name="connsiteX6" fmla="*/ 3164593 w 8453754"/>
              <a:gd name="connsiteY6" fmla="*/ 1123531 h 4451507"/>
              <a:gd name="connsiteX7" fmla="*/ 3126233 w 8453754"/>
              <a:gd name="connsiteY7" fmla="*/ 1085171 h 4451507"/>
              <a:gd name="connsiteX8" fmla="*/ 0 w 8453754"/>
              <a:gd name="connsiteY8" fmla="*/ 0 h 4451507"/>
              <a:gd name="connsiteX9" fmla="*/ 8453754 w 8453754"/>
              <a:gd name="connsiteY9" fmla="*/ 0 h 4451507"/>
              <a:gd name="connsiteX10" fmla="*/ 8453754 w 8453754"/>
              <a:gd name="connsiteY10" fmla="*/ 4451507 h 4451507"/>
              <a:gd name="connsiteX11" fmla="*/ 0 w 8453754"/>
              <a:gd name="connsiteY11" fmla="*/ 4451507 h 445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3754" h="4451507">
                <a:moveTo>
                  <a:pt x="2972798" y="1085171"/>
                </a:moveTo>
                <a:cubicBezTo>
                  <a:pt x="2951612" y="1085171"/>
                  <a:pt x="2934438" y="1102345"/>
                  <a:pt x="2934438" y="1123531"/>
                </a:cubicBezTo>
                <a:lnTo>
                  <a:pt x="2934438" y="1295628"/>
                </a:lnTo>
                <a:cubicBezTo>
                  <a:pt x="2934438" y="1316814"/>
                  <a:pt x="2951612" y="1333988"/>
                  <a:pt x="2972798" y="1333988"/>
                </a:cubicBezTo>
                <a:lnTo>
                  <a:pt x="3126233" y="1333988"/>
                </a:lnTo>
                <a:cubicBezTo>
                  <a:pt x="3147419" y="1333988"/>
                  <a:pt x="3164593" y="1316814"/>
                  <a:pt x="3164593" y="1295628"/>
                </a:cubicBezTo>
                <a:lnTo>
                  <a:pt x="3164593" y="1123531"/>
                </a:lnTo>
                <a:cubicBezTo>
                  <a:pt x="3164593" y="1102345"/>
                  <a:pt x="3147419" y="1085171"/>
                  <a:pt x="3126233" y="1085171"/>
                </a:cubicBezTo>
                <a:close/>
                <a:moveTo>
                  <a:pt x="0" y="0"/>
                </a:moveTo>
                <a:lnTo>
                  <a:pt x="8453754" y="0"/>
                </a:lnTo>
                <a:lnTo>
                  <a:pt x="8453754" y="4451507"/>
                </a:lnTo>
                <a:lnTo>
                  <a:pt x="0" y="4451507"/>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Box 8">
            <a:extLst>
              <a:ext uri="{FF2B5EF4-FFF2-40B4-BE49-F238E27FC236}">
                <a16:creationId xmlns:a16="http://schemas.microsoft.com/office/drawing/2014/main" id="{470029AB-CFF2-C84F-3477-05236DE9FF2C}"/>
              </a:ext>
            </a:extLst>
          </p:cNvPr>
          <p:cNvSpPr txBox="1"/>
          <p:nvPr/>
        </p:nvSpPr>
        <p:spPr>
          <a:xfrm>
            <a:off x="3299926" y="2695096"/>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Tree>
    <p:extLst>
      <p:ext uri="{BB962C8B-B14F-4D97-AF65-F5344CB8AC3E}">
        <p14:creationId xmlns:p14="http://schemas.microsoft.com/office/powerpoint/2010/main" val="186662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A95FFC5C-1B57-8850-D596-03FAB4B6A3A3}"/>
              </a:ext>
            </a:extLst>
          </p:cNvPr>
          <p:cNvSpPr>
            <a:spLocks noGrp="1"/>
          </p:cNvSpPr>
          <p:nvPr>
            <p:ph type="chart" sz="quarter" idx="21"/>
          </p:nvPr>
        </p:nvSpPr>
        <p:spPr>
          <a:xfrm>
            <a:off x="6096000" y="1835583"/>
            <a:ext cx="5130051" cy="4401315"/>
          </a:xfrm>
        </p:spPr>
        <p:txBody>
          <a:bodyPr/>
          <a:lstStyle/>
          <a:p>
            <a:r>
              <a:rPr lang="ar-SA" dirty="0"/>
              <a:t>بعض ان يختر المستخدم تحديث المؤشر يعرض النظام قائمة منبثقة ليتمكن المستخدم من التحديث وتحتوي على الآتي:</a:t>
            </a:r>
          </a:p>
          <a:p>
            <a:pPr marL="342900" indent="-342900">
              <a:buFont typeface="+mj-lt"/>
              <a:buAutoNum type="arabicPeriod"/>
            </a:pPr>
            <a:r>
              <a:rPr lang="ar-SA" dirty="0"/>
              <a:t>التاريخ </a:t>
            </a:r>
          </a:p>
          <a:p>
            <a:pPr marL="342900" indent="-342900">
              <a:buFont typeface="+mj-lt"/>
              <a:buAutoNum type="arabicPeriod"/>
            </a:pPr>
            <a:r>
              <a:rPr lang="ar-SA" dirty="0"/>
              <a:t>مستهدف (قيمة المستهدف لدورية القياس المختارة كما تم إدخالها وقت انشاء المؤشر، وهي للعرض فقط ولا يمكن للمستخدم تغيرها)</a:t>
            </a:r>
          </a:p>
          <a:p>
            <a:pPr marL="342900" indent="-342900">
              <a:buFont typeface="+mj-lt"/>
              <a:buAutoNum type="arabicPeriod"/>
            </a:pPr>
            <a:r>
              <a:rPr lang="ar-SA" dirty="0"/>
              <a:t>قيمة الـ</a:t>
            </a:r>
            <a:r>
              <a:rPr lang="en-AU" dirty="0"/>
              <a:t>X</a:t>
            </a:r>
            <a:endParaRPr lang="en-US" dirty="0"/>
          </a:p>
          <a:p>
            <a:pPr marL="342900" indent="-342900">
              <a:buFont typeface="+mj-lt"/>
              <a:buAutoNum type="arabicPeriod"/>
            </a:pPr>
            <a:r>
              <a:rPr lang="ar-SA" dirty="0"/>
              <a:t>قيمة الـ</a:t>
            </a:r>
            <a:r>
              <a:rPr lang="en-AU" dirty="0"/>
              <a:t>Y</a:t>
            </a:r>
          </a:p>
          <a:p>
            <a:pPr marL="342900" indent="-342900">
              <a:buFont typeface="+mj-lt"/>
              <a:buAutoNum type="arabicPeriod"/>
            </a:pPr>
            <a:r>
              <a:rPr lang="ar-SA" dirty="0"/>
              <a:t>المعادلة</a:t>
            </a:r>
          </a:p>
          <a:p>
            <a:pPr marL="342900" indent="-342900">
              <a:buFont typeface="+mj-lt"/>
              <a:buAutoNum type="arabicPeriod"/>
            </a:pPr>
            <a:r>
              <a:rPr lang="ar-SA" dirty="0"/>
              <a:t>المرئيات</a:t>
            </a:r>
          </a:p>
          <a:p>
            <a:pPr marL="342900" indent="-342900">
              <a:buFont typeface="+mj-lt"/>
              <a:buAutoNum type="arabicPeriod"/>
            </a:pPr>
            <a:r>
              <a:rPr lang="ar-SA" dirty="0"/>
              <a:t>مرفق (يمكن للمستخدم رفع ملفات على هذا التحديث)</a:t>
            </a:r>
          </a:p>
          <a:p>
            <a:endParaRPr lang="en-GB" dirty="0"/>
          </a:p>
        </p:txBody>
      </p:sp>
      <p:sp>
        <p:nvSpPr>
          <p:cNvPr id="5" name="Slide Number Placeholder 4">
            <a:extLst>
              <a:ext uri="{FF2B5EF4-FFF2-40B4-BE49-F238E27FC236}">
                <a16:creationId xmlns:a16="http://schemas.microsoft.com/office/drawing/2014/main" id="{8EDA9FC1-90E6-F1CF-8412-30D3093049F6}"/>
              </a:ext>
            </a:extLst>
          </p:cNvPr>
          <p:cNvSpPr>
            <a:spLocks noGrp="1"/>
          </p:cNvSpPr>
          <p:nvPr>
            <p:ph type="sldNum" sz="quarter" idx="4"/>
          </p:nvPr>
        </p:nvSpPr>
        <p:spPr/>
        <p:txBody>
          <a:bodyPr/>
          <a:lstStyle/>
          <a:p>
            <a:fld id="{E75C2C89-F887-4946-9289-77479B29E3CB}" type="slidenum">
              <a:rPr lang="en-US" smtClean="0"/>
              <a:pPr/>
              <a:t>16</a:t>
            </a:fld>
            <a:endParaRPr lang="en-US"/>
          </a:p>
        </p:txBody>
      </p:sp>
      <p:sp>
        <p:nvSpPr>
          <p:cNvPr id="7" name="Text Placeholder 6">
            <a:extLst>
              <a:ext uri="{FF2B5EF4-FFF2-40B4-BE49-F238E27FC236}">
                <a16:creationId xmlns:a16="http://schemas.microsoft.com/office/drawing/2014/main" id="{4BF508F7-5B90-8D5F-A4C6-1320D2CF4540}"/>
              </a:ext>
            </a:extLst>
          </p:cNvPr>
          <p:cNvSpPr>
            <a:spLocks noGrp="1"/>
          </p:cNvSpPr>
          <p:nvPr>
            <p:ph type="body" sz="quarter" idx="24"/>
          </p:nvPr>
        </p:nvSpPr>
        <p:spPr/>
        <p:txBody>
          <a:bodyPr/>
          <a:lstStyle/>
          <a:p>
            <a:r>
              <a:rPr lang="ar-SA" dirty="0"/>
              <a:t>تحديث المؤشر</a:t>
            </a:r>
            <a:endParaRPr lang="en-GB" dirty="0"/>
          </a:p>
        </p:txBody>
      </p:sp>
      <p:sp>
        <p:nvSpPr>
          <p:cNvPr id="8" name="Title 7">
            <a:extLst>
              <a:ext uri="{FF2B5EF4-FFF2-40B4-BE49-F238E27FC236}">
                <a16:creationId xmlns:a16="http://schemas.microsoft.com/office/drawing/2014/main" id="{E8D756BB-E457-2E08-8B78-C9C6FF92BD9A}"/>
              </a:ext>
            </a:extLst>
          </p:cNvPr>
          <p:cNvSpPr>
            <a:spLocks noGrp="1"/>
          </p:cNvSpPr>
          <p:nvPr>
            <p:ph type="title"/>
          </p:nvPr>
        </p:nvSpPr>
        <p:spPr/>
        <p:txBody>
          <a:bodyPr/>
          <a:lstStyle/>
          <a:p>
            <a:r>
              <a:rPr lang="ar-SA" dirty="0"/>
              <a:t>مركز المهام</a:t>
            </a:r>
            <a:endParaRPr lang="en-GB" dirty="0"/>
          </a:p>
        </p:txBody>
      </p:sp>
      <p:pic>
        <p:nvPicPr>
          <p:cNvPr id="4" name="Picture 3">
            <a:extLst>
              <a:ext uri="{FF2B5EF4-FFF2-40B4-BE49-F238E27FC236}">
                <a16:creationId xmlns:a16="http://schemas.microsoft.com/office/drawing/2014/main" id="{79C8BBAA-4CAC-C608-816D-B208E177901C}"/>
              </a:ext>
            </a:extLst>
          </p:cNvPr>
          <p:cNvPicPr>
            <a:picLocks noChangeAspect="1"/>
          </p:cNvPicPr>
          <p:nvPr/>
        </p:nvPicPr>
        <p:blipFill>
          <a:blip r:embed="rId2"/>
          <a:stretch>
            <a:fillRect/>
          </a:stretch>
        </p:blipFill>
        <p:spPr>
          <a:xfrm>
            <a:off x="1819282" y="1665287"/>
            <a:ext cx="3392798" cy="4883839"/>
          </a:xfrm>
          <a:prstGeom prst="rect">
            <a:avLst/>
          </a:prstGeom>
        </p:spPr>
      </p:pic>
      <p:sp>
        <p:nvSpPr>
          <p:cNvPr id="31" name="Free-form: Shape 30">
            <a:extLst>
              <a:ext uri="{FF2B5EF4-FFF2-40B4-BE49-F238E27FC236}">
                <a16:creationId xmlns:a16="http://schemas.microsoft.com/office/drawing/2014/main" id="{1F634018-EC8F-ADB4-3BC7-D2B89B7279A8}"/>
              </a:ext>
            </a:extLst>
          </p:cNvPr>
          <p:cNvSpPr/>
          <p:nvPr/>
        </p:nvSpPr>
        <p:spPr>
          <a:xfrm>
            <a:off x="1819283" y="1665287"/>
            <a:ext cx="3392798" cy="4883839"/>
          </a:xfrm>
          <a:custGeom>
            <a:avLst/>
            <a:gdLst>
              <a:gd name="connsiteX0" fmla="*/ 2866745 w 3392798"/>
              <a:gd name="connsiteY0" fmla="*/ 3498839 h 4883839"/>
              <a:gd name="connsiteX1" fmla="*/ 2814068 w 3392798"/>
              <a:gd name="connsiteY1" fmla="*/ 3551516 h 4883839"/>
              <a:gd name="connsiteX2" fmla="*/ 2814068 w 3392798"/>
              <a:gd name="connsiteY2" fmla="*/ 3679155 h 4883839"/>
              <a:gd name="connsiteX3" fmla="*/ 248651 w 3392798"/>
              <a:gd name="connsiteY3" fmla="*/ 3679155 h 4883839"/>
              <a:gd name="connsiteX4" fmla="*/ 132526 w 3392798"/>
              <a:gd name="connsiteY4" fmla="*/ 3795280 h 4883839"/>
              <a:gd name="connsiteX5" fmla="*/ 132526 w 3392798"/>
              <a:gd name="connsiteY5" fmla="*/ 4259764 h 4883839"/>
              <a:gd name="connsiteX6" fmla="*/ 248651 w 3392798"/>
              <a:gd name="connsiteY6" fmla="*/ 4375889 h 4883839"/>
              <a:gd name="connsiteX7" fmla="*/ 3152885 w 3392798"/>
              <a:gd name="connsiteY7" fmla="*/ 4375889 h 4883839"/>
              <a:gd name="connsiteX8" fmla="*/ 3269010 w 3392798"/>
              <a:gd name="connsiteY8" fmla="*/ 4259764 h 4883839"/>
              <a:gd name="connsiteX9" fmla="*/ 3269010 w 3392798"/>
              <a:gd name="connsiteY9" fmla="*/ 3795280 h 4883839"/>
              <a:gd name="connsiteX10" fmla="*/ 3259885 w 3392798"/>
              <a:gd name="connsiteY10" fmla="*/ 3750079 h 4883839"/>
              <a:gd name="connsiteX11" fmla="*/ 3256570 w 3392798"/>
              <a:gd name="connsiteY11" fmla="*/ 3745163 h 4883839"/>
              <a:gd name="connsiteX12" fmla="*/ 3256570 w 3392798"/>
              <a:gd name="connsiteY12" fmla="*/ 3551516 h 4883839"/>
              <a:gd name="connsiteX13" fmla="*/ 3203893 w 3392798"/>
              <a:gd name="connsiteY13" fmla="*/ 3498839 h 4883839"/>
              <a:gd name="connsiteX14" fmla="*/ 2860861 w 3392798"/>
              <a:gd name="connsiteY14" fmla="*/ 2570763 h 4883839"/>
              <a:gd name="connsiteX15" fmla="*/ 2814068 w 3392798"/>
              <a:gd name="connsiteY15" fmla="*/ 2617556 h 4883839"/>
              <a:gd name="connsiteX16" fmla="*/ 2814068 w 3392798"/>
              <a:gd name="connsiteY16" fmla="*/ 2720052 h 4883839"/>
              <a:gd name="connsiteX17" fmla="*/ 248650 w 3392798"/>
              <a:gd name="connsiteY17" fmla="*/ 2720052 h 4883839"/>
              <a:gd name="connsiteX18" fmla="*/ 132526 w 3392798"/>
              <a:gd name="connsiteY18" fmla="*/ 2836176 h 4883839"/>
              <a:gd name="connsiteX19" fmla="*/ 132526 w 3392798"/>
              <a:gd name="connsiteY19" fmla="*/ 3300661 h 4883839"/>
              <a:gd name="connsiteX20" fmla="*/ 248650 w 3392798"/>
              <a:gd name="connsiteY20" fmla="*/ 3416785 h 4883839"/>
              <a:gd name="connsiteX21" fmla="*/ 3140446 w 3392798"/>
              <a:gd name="connsiteY21" fmla="*/ 3416785 h 4883839"/>
              <a:gd name="connsiteX22" fmla="*/ 3256570 w 3392798"/>
              <a:gd name="connsiteY22" fmla="*/ 3300661 h 4883839"/>
              <a:gd name="connsiteX23" fmla="*/ 3256570 w 3392798"/>
              <a:gd name="connsiteY23" fmla="*/ 2836176 h 4883839"/>
              <a:gd name="connsiteX24" fmla="*/ 3253395 w 3392798"/>
              <a:gd name="connsiteY24" fmla="*/ 2820449 h 4883839"/>
              <a:gd name="connsiteX25" fmla="*/ 3256570 w 3392798"/>
              <a:gd name="connsiteY25" fmla="*/ 2804721 h 4883839"/>
              <a:gd name="connsiteX26" fmla="*/ 3256570 w 3392798"/>
              <a:gd name="connsiteY26" fmla="*/ 2617556 h 4883839"/>
              <a:gd name="connsiteX27" fmla="*/ 3209777 w 3392798"/>
              <a:gd name="connsiteY27" fmla="*/ 2570763 h 4883839"/>
              <a:gd name="connsiteX28" fmla="*/ 2835433 w 3392798"/>
              <a:gd name="connsiteY28" fmla="*/ 2053789 h 4883839"/>
              <a:gd name="connsiteX29" fmla="*/ 2788640 w 3392798"/>
              <a:gd name="connsiteY29" fmla="*/ 2100582 h 4883839"/>
              <a:gd name="connsiteX30" fmla="*/ 2788640 w 3392798"/>
              <a:gd name="connsiteY30" fmla="*/ 2234105 h 4883839"/>
              <a:gd name="connsiteX31" fmla="*/ 191759 w 3392798"/>
              <a:gd name="connsiteY31" fmla="*/ 2234105 h 4883839"/>
              <a:gd name="connsiteX32" fmla="*/ 144966 w 3392798"/>
              <a:gd name="connsiteY32" fmla="*/ 2280898 h 4883839"/>
              <a:gd name="connsiteX33" fmla="*/ 144966 w 3392798"/>
              <a:gd name="connsiteY33" fmla="*/ 2468063 h 4883839"/>
              <a:gd name="connsiteX34" fmla="*/ 191759 w 3392798"/>
              <a:gd name="connsiteY34" fmla="*/ 2514856 h 4883839"/>
              <a:gd name="connsiteX35" fmla="*/ 3222217 w 3392798"/>
              <a:gd name="connsiteY35" fmla="*/ 2514856 h 4883839"/>
              <a:gd name="connsiteX36" fmla="*/ 3269010 w 3392798"/>
              <a:gd name="connsiteY36" fmla="*/ 2468063 h 4883839"/>
              <a:gd name="connsiteX37" fmla="*/ 3269010 w 3392798"/>
              <a:gd name="connsiteY37" fmla="*/ 2287747 h 4883839"/>
              <a:gd name="connsiteX38" fmla="*/ 3269010 w 3392798"/>
              <a:gd name="connsiteY38" fmla="*/ 2280898 h 4883839"/>
              <a:gd name="connsiteX39" fmla="*/ 3269010 w 3392798"/>
              <a:gd name="connsiteY39" fmla="*/ 2100582 h 4883839"/>
              <a:gd name="connsiteX40" fmla="*/ 3222217 w 3392798"/>
              <a:gd name="connsiteY40" fmla="*/ 2053789 h 4883839"/>
              <a:gd name="connsiteX41" fmla="*/ 3020216 w 3392798"/>
              <a:gd name="connsiteY41" fmla="*/ 1493997 h 4883839"/>
              <a:gd name="connsiteX42" fmla="*/ 2989093 w 3392798"/>
              <a:gd name="connsiteY42" fmla="*/ 1525120 h 4883839"/>
              <a:gd name="connsiteX43" fmla="*/ 2989093 w 3392798"/>
              <a:gd name="connsiteY43" fmla="*/ 1649609 h 4883839"/>
              <a:gd name="connsiteX44" fmla="*/ 3020216 w 3392798"/>
              <a:gd name="connsiteY44" fmla="*/ 1680732 h 4883839"/>
              <a:gd name="connsiteX45" fmla="*/ 1730247 w 3392798"/>
              <a:gd name="connsiteY45" fmla="*/ 1680732 h 4883839"/>
              <a:gd name="connsiteX46" fmla="*/ 1677737 w 3392798"/>
              <a:gd name="connsiteY46" fmla="*/ 1733242 h 4883839"/>
              <a:gd name="connsiteX47" fmla="*/ 1677737 w 3392798"/>
              <a:gd name="connsiteY47" fmla="*/ 1943278 h 4883839"/>
              <a:gd name="connsiteX48" fmla="*/ 1730247 w 3392798"/>
              <a:gd name="connsiteY48" fmla="*/ 1995788 h 4883839"/>
              <a:gd name="connsiteX49" fmla="*/ 3185400 w 3392798"/>
              <a:gd name="connsiteY49" fmla="*/ 1995788 h 4883839"/>
              <a:gd name="connsiteX50" fmla="*/ 3237910 w 3392798"/>
              <a:gd name="connsiteY50" fmla="*/ 1943278 h 4883839"/>
              <a:gd name="connsiteX51" fmla="*/ 3237910 w 3392798"/>
              <a:gd name="connsiteY51" fmla="*/ 1733242 h 4883839"/>
              <a:gd name="connsiteX52" fmla="*/ 3185400 w 3392798"/>
              <a:gd name="connsiteY52" fmla="*/ 1680732 h 4883839"/>
              <a:gd name="connsiteX53" fmla="*/ 3194347 w 3392798"/>
              <a:gd name="connsiteY53" fmla="*/ 1680732 h 4883839"/>
              <a:gd name="connsiteX54" fmla="*/ 3225470 w 3392798"/>
              <a:gd name="connsiteY54" fmla="*/ 1649609 h 4883839"/>
              <a:gd name="connsiteX55" fmla="*/ 3225470 w 3392798"/>
              <a:gd name="connsiteY55" fmla="*/ 1525120 h 4883839"/>
              <a:gd name="connsiteX56" fmla="*/ 3194347 w 3392798"/>
              <a:gd name="connsiteY56" fmla="*/ 1493997 h 4883839"/>
              <a:gd name="connsiteX57" fmla="*/ 1507713 w 3392798"/>
              <a:gd name="connsiteY57" fmla="*/ 1487777 h 4883839"/>
              <a:gd name="connsiteX58" fmla="*/ 1478683 w 3392798"/>
              <a:gd name="connsiteY58" fmla="*/ 1516807 h 4883839"/>
              <a:gd name="connsiteX59" fmla="*/ 1478683 w 3392798"/>
              <a:gd name="connsiteY59" fmla="*/ 1681887 h 4883839"/>
              <a:gd name="connsiteX60" fmla="*/ 151413 w 3392798"/>
              <a:gd name="connsiteY60" fmla="*/ 1681887 h 4883839"/>
              <a:gd name="connsiteX61" fmla="*/ 98903 w 3392798"/>
              <a:gd name="connsiteY61" fmla="*/ 1734397 h 4883839"/>
              <a:gd name="connsiteX62" fmla="*/ 98903 w 3392798"/>
              <a:gd name="connsiteY62" fmla="*/ 1944433 h 4883839"/>
              <a:gd name="connsiteX63" fmla="*/ 151413 w 3392798"/>
              <a:gd name="connsiteY63" fmla="*/ 1996943 h 4883839"/>
              <a:gd name="connsiteX64" fmla="*/ 1606566 w 3392798"/>
              <a:gd name="connsiteY64" fmla="*/ 1996943 h 4883839"/>
              <a:gd name="connsiteX65" fmla="*/ 1659076 w 3392798"/>
              <a:gd name="connsiteY65" fmla="*/ 1944433 h 4883839"/>
              <a:gd name="connsiteX66" fmla="*/ 1659076 w 3392798"/>
              <a:gd name="connsiteY66" fmla="*/ 1734397 h 4883839"/>
              <a:gd name="connsiteX67" fmla="*/ 1654950 w 3392798"/>
              <a:gd name="connsiteY67" fmla="*/ 1713958 h 4883839"/>
              <a:gd name="connsiteX68" fmla="*/ 1646492 w 3392798"/>
              <a:gd name="connsiteY68" fmla="*/ 1701414 h 4883839"/>
              <a:gd name="connsiteX69" fmla="*/ 1652857 w 3392798"/>
              <a:gd name="connsiteY69" fmla="*/ 1686047 h 4883839"/>
              <a:gd name="connsiteX70" fmla="*/ 1652857 w 3392798"/>
              <a:gd name="connsiteY70" fmla="*/ 1516807 h 4883839"/>
              <a:gd name="connsiteX71" fmla="*/ 1623827 w 3392798"/>
              <a:gd name="connsiteY71" fmla="*/ 1487777 h 4883839"/>
              <a:gd name="connsiteX72" fmla="*/ 2811950 w 3392798"/>
              <a:gd name="connsiteY72" fmla="*/ 970572 h 4883839"/>
              <a:gd name="connsiteX73" fmla="*/ 2765157 w 3392798"/>
              <a:gd name="connsiteY73" fmla="*/ 1017365 h 4883839"/>
              <a:gd name="connsiteX74" fmla="*/ 2765157 w 3392798"/>
              <a:gd name="connsiteY74" fmla="*/ 1164359 h 4883839"/>
              <a:gd name="connsiteX75" fmla="*/ 182430 w 3392798"/>
              <a:gd name="connsiteY75" fmla="*/ 1164359 h 4883839"/>
              <a:gd name="connsiteX76" fmla="*/ 135637 w 3392798"/>
              <a:gd name="connsiteY76" fmla="*/ 1211152 h 4883839"/>
              <a:gd name="connsiteX77" fmla="*/ 135637 w 3392798"/>
              <a:gd name="connsiteY77" fmla="*/ 1398317 h 4883839"/>
              <a:gd name="connsiteX78" fmla="*/ 182430 w 3392798"/>
              <a:gd name="connsiteY78" fmla="*/ 1445110 h 4883839"/>
              <a:gd name="connsiteX79" fmla="*/ 3215998 w 3392798"/>
              <a:gd name="connsiteY79" fmla="*/ 1445110 h 4883839"/>
              <a:gd name="connsiteX80" fmla="*/ 3262791 w 3392798"/>
              <a:gd name="connsiteY80" fmla="*/ 1398317 h 4883839"/>
              <a:gd name="connsiteX81" fmla="*/ 3262791 w 3392798"/>
              <a:gd name="connsiteY81" fmla="*/ 1211152 h 4883839"/>
              <a:gd name="connsiteX82" fmla="*/ 3259114 w 3392798"/>
              <a:gd name="connsiteY82" fmla="*/ 1192938 h 4883839"/>
              <a:gd name="connsiteX83" fmla="*/ 3256570 w 3392798"/>
              <a:gd name="connsiteY83" fmla="*/ 1189165 h 4883839"/>
              <a:gd name="connsiteX84" fmla="*/ 3256570 w 3392798"/>
              <a:gd name="connsiteY84" fmla="*/ 1017365 h 4883839"/>
              <a:gd name="connsiteX85" fmla="*/ 3209777 w 3392798"/>
              <a:gd name="connsiteY85" fmla="*/ 970572 h 4883839"/>
              <a:gd name="connsiteX86" fmla="*/ 3033673 w 3392798"/>
              <a:gd name="connsiteY86" fmla="*/ 448024 h 4883839"/>
              <a:gd name="connsiteX87" fmla="*/ 2989092 w 3392798"/>
              <a:gd name="connsiteY87" fmla="*/ 492605 h 4883839"/>
              <a:gd name="connsiteX88" fmla="*/ 2989092 w 3392798"/>
              <a:gd name="connsiteY88" fmla="*/ 666533 h 4883839"/>
              <a:gd name="connsiteX89" fmla="*/ 182430 w 3392798"/>
              <a:gd name="connsiteY89" fmla="*/ 666533 h 4883839"/>
              <a:gd name="connsiteX90" fmla="*/ 135637 w 3392798"/>
              <a:gd name="connsiteY90" fmla="*/ 713326 h 4883839"/>
              <a:gd name="connsiteX91" fmla="*/ 135637 w 3392798"/>
              <a:gd name="connsiteY91" fmla="*/ 900491 h 4883839"/>
              <a:gd name="connsiteX92" fmla="*/ 182430 w 3392798"/>
              <a:gd name="connsiteY92" fmla="*/ 947284 h 4883839"/>
              <a:gd name="connsiteX93" fmla="*/ 3215998 w 3392798"/>
              <a:gd name="connsiteY93" fmla="*/ 947284 h 4883839"/>
              <a:gd name="connsiteX94" fmla="*/ 3262791 w 3392798"/>
              <a:gd name="connsiteY94" fmla="*/ 900491 h 4883839"/>
              <a:gd name="connsiteX95" fmla="*/ 3262791 w 3392798"/>
              <a:gd name="connsiteY95" fmla="*/ 713326 h 4883839"/>
              <a:gd name="connsiteX96" fmla="*/ 3259114 w 3392798"/>
              <a:gd name="connsiteY96" fmla="*/ 695112 h 4883839"/>
              <a:gd name="connsiteX97" fmla="*/ 3254737 w 3392798"/>
              <a:gd name="connsiteY97" fmla="*/ 688620 h 4883839"/>
              <a:gd name="connsiteX98" fmla="*/ 3256570 w 3392798"/>
              <a:gd name="connsiteY98" fmla="*/ 684194 h 4883839"/>
              <a:gd name="connsiteX99" fmla="*/ 3256570 w 3392798"/>
              <a:gd name="connsiteY99" fmla="*/ 492605 h 4883839"/>
              <a:gd name="connsiteX100" fmla="*/ 3211989 w 3392798"/>
              <a:gd name="connsiteY100" fmla="*/ 448024 h 4883839"/>
              <a:gd name="connsiteX101" fmla="*/ 0 w 3392798"/>
              <a:gd name="connsiteY101" fmla="*/ 0 h 4883839"/>
              <a:gd name="connsiteX102" fmla="*/ 3392798 w 3392798"/>
              <a:gd name="connsiteY102" fmla="*/ 0 h 4883839"/>
              <a:gd name="connsiteX103" fmla="*/ 3392798 w 3392798"/>
              <a:gd name="connsiteY103" fmla="*/ 4883839 h 4883839"/>
              <a:gd name="connsiteX104" fmla="*/ 0 w 3392798"/>
              <a:gd name="connsiteY104" fmla="*/ 4883839 h 488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392798" h="4883839">
                <a:moveTo>
                  <a:pt x="2866745" y="3498839"/>
                </a:moveTo>
                <a:cubicBezTo>
                  <a:pt x="2837652" y="3498839"/>
                  <a:pt x="2814068" y="3522423"/>
                  <a:pt x="2814068" y="3551516"/>
                </a:cubicBezTo>
                <a:lnTo>
                  <a:pt x="2814068" y="3679155"/>
                </a:lnTo>
                <a:lnTo>
                  <a:pt x="248651" y="3679155"/>
                </a:lnTo>
                <a:cubicBezTo>
                  <a:pt x="184517" y="3679155"/>
                  <a:pt x="132526" y="3731146"/>
                  <a:pt x="132526" y="3795280"/>
                </a:cubicBezTo>
                <a:lnTo>
                  <a:pt x="132526" y="4259764"/>
                </a:lnTo>
                <a:cubicBezTo>
                  <a:pt x="132526" y="4323898"/>
                  <a:pt x="184517" y="4375889"/>
                  <a:pt x="248651" y="4375889"/>
                </a:cubicBezTo>
                <a:lnTo>
                  <a:pt x="3152885" y="4375889"/>
                </a:lnTo>
                <a:cubicBezTo>
                  <a:pt x="3217019" y="4375889"/>
                  <a:pt x="3269010" y="4323898"/>
                  <a:pt x="3269010" y="4259764"/>
                </a:cubicBezTo>
                <a:lnTo>
                  <a:pt x="3269010" y="3795280"/>
                </a:lnTo>
                <a:cubicBezTo>
                  <a:pt x="3269010" y="3779247"/>
                  <a:pt x="3265761" y="3763972"/>
                  <a:pt x="3259885" y="3750079"/>
                </a:cubicBezTo>
                <a:lnTo>
                  <a:pt x="3256570" y="3745163"/>
                </a:lnTo>
                <a:lnTo>
                  <a:pt x="3256570" y="3551516"/>
                </a:lnTo>
                <a:cubicBezTo>
                  <a:pt x="3256570" y="3522423"/>
                  <a:pt x="3232986" y="3498839"/>
                  <a:pt x="3203893" y="3498839"/>
                </a:cubicBezTo>
                <a:close/>
                <a:moveTo>
                  <a:pt x="2860861" y="2570763"/>
                </a:moveTo>
                <a:cubicBezTo>
                  <a:pt x="2835018" y="2570763"/>
                  <a:pt x="2814068" y="2591713"/>
                  <a:pt x="2814068" y="2617556"/>
                </a:cubicBezTo>
                <a:lnTo>
                  <a:pt x="2814068" y="2720052"/>
                </a:lnTo>
                <a:lnTo>
                  <a:pt x="248650" y="2720052"/>
                </a:lnTo>
                <a:cubicBezTo>
                  <a:pt x="184516" y="2720052"/>
                  <a:pt x="132526" y="2772042"/>
                  <a:pt x="132526" y="2836176"/>
                </a:cubicBezTo>
                <a:lnTo>
                  <a:pt x="132526" y="3300661"/>
                </a:lnTo>
                <a:cubicBezTo>
                  <a:pt x="132526" y="3364795"/>
                  <a:pt x="184516" y="3416785"/>
                  <a:pt x="248650" y="3416785"/>
                </a:cubicBezTo>
                <a:lnTo>
                  <a:pt x="3140446" y="3416785"/>
                </a:lnTo>
                <a:cubicBezTo>
                  <a:pt x="3204580" y="3416785"/>
                  <a:pt x="3256570" y="3364795"/>
                  <a:pt x="3256570" y="3300661"/>
                </a:cubicBezTo>
                <a:lnTo>
                  <a:pt x="3256570" y="2836176"/>
                </a:lnTo>
                <a:lnTo>
                  <a:pt x="3253395" y="2820449"/>
                </a:lnTo>
                <a:lnTo>
                  <a:pt x="3256570" y="2804721"/>
                </a:lnTo>
                <a:lnTo>
                  <a:pt x="3256570" y="2617556"/>
                </a:lnTo>
                <a:cubicBezTo>
                  <a:pt x="3256570" y="2591713"/>
                  <a:pt x="3235620" y="2570763"/>
                  <a:pt x="3209777" y="2570763"/>
                </a:cubicBezTo>
                <a:close/>
                <a:moveTo>
                  <a:pt x="2835433" y="2053789"/>
                </a:moveTo>
                <a:cubicBezTo>
                  <a:pt x="2809590" y="2053789"/>
                  <a:pt x="2788640" y="2074739"/>
                  <a:pt x="2788640" y="2100582"/>
                </a:cubicBezTo>
                <a:lnTo>
                  <a:pt x="2788640" y="2234105"/>
                </a:lnTo>
                <a:lnTo>
                  <a:pt x="191759" y="2234105"/>
                </a:lnTo>
                <a:cubicBezTo>
                  <a:pt x="165916" y="2234105"/>
                  <a:pt x="144966" y="2255055"/>
                  <a:pt x="144966" y="2280898"/>
                </a:cubicBezTo>
                <a:lnTo>
                  <a:pt x="144966" y="2468063"/>
                </a:lnTo>
                <a:cubicBezTo>
                  <a:pt x="144966" y="2493906"/>
                  <a:pt x="165916" y="2514856"/>
                  <a:pt x="191759" y="2514856"/>
                </a:cubicBezTo>
                <a:lnTo>
                  <a:pt x="3222217" y="2514856"/>
                </a:lnTo>
                <a:cubicBezTo>
                  <a:pt x="3248060" y="2514856"/>
                  <a:pt x="3269010" y="2493906"/>
                  <a:pt x="3269010" y="2468063"/>
                </a:cubicBezTo>
                <a:lnTo>
                  <a:pt x="3269010" y="2287747"/>
                </a:lnTo>
                <a:lnTo>
                  <a:pt x="3269010" y="2280898"/>
                </a:lnTo>
                <a:lnTo>
                  <a:pt x="3269010" y="2100582"/>
                </a:lnTo>
                <a:cubicBezTo>
                  <a:pt x="3269010" y="2074739"/>
                  <a:pt x="3248060" y="2053789"/>
                  <a:pt x="3222217" y="2053789"/>
                </a:cubicBezTo>
                <a:close/>
                <a:moveTo>
                  <a:pt x="3020216" y="1493997"/>
                </a:moveTo>
                <a:cubicBezTo>
                  <a:pt x="3003027" y="1493997"/>
                  <a:pt x="2989093" y="1507931"/>
                  <a:pt x="2989093" y="1525120"/>
                </a:cubicBezTo>
                <a:lnTo>
                  <a:pt x="2989093" y="1649609"/>
                </a:lnTo>
                <a:cubicBezTo>
                  <a:pt x="2989093" y="1666798"/>
                  <a:pt x="3003027" y="1680732"/>
                  <a:pt x="3020216" y="1680732"/>
                </a:cubicBezTo>
                <a:lnTo>
                  <a:pt x="1730247" y="1680732"/>
                </a:lnTo>
                <a:cubicBezTo>
                  <a:pt x="1701247" y="1680732"/>
                  <a:pt x="1677737" y="1704242"/>
                  <a:pt x="1677737" y="1733242"/>
                </a:cubicBezTo>
                <a:lnTo>
                  <a:pt x="1677737" y="1943278"/>
                </a:lnTo>
                <a:cubicBezTo>
                  <a:pt x="1677737" y="1972278"/>
                  <a:pt x="1701247" y="1995788"/>
                  <a:pt x="1730247" y="1995788"/>
                </a:cubicBezTo>
                <a:lnTo>
                  <a:pt x="3185400" y="1995788"/>
                </a:lnTo>
                <a:cubicBezTo>
                  <a:pt x="3214400" y="1995788"/>
                  <a:pt x="3237910" y="1972278"/>
                  <a:pt x="3237910" y="1943278"/>
                </a:cubicBezTo>
                <a:lnTo>
                  <a:pt x="3237910" y="1733242"/>
                </a:lnTo>
                <a:cubicBezTo>
                  <a:pt x="3237910" y="1704242"/>
                  <a:pt x="3214400" y="1680732"/>
                  <a:pt x="3185400" y="1680732"/>
                </a:cubicBezTo>
                <a:lnTo>
                  <a:pt x="3194347" y="1680732"/>
                </a:lnTo>
                <a:cubicBezTo>
                  <a:pt x="3211536" y="1680732"/>
                  <a:pt x="3225470" y="1666798"/>
                  <a:pt x="3225470" y="1649609"/>
                </a:cubicBezTo>
                <a:lnTo>
                  <a:pt x="3225470" y="1525120"/>
                </a:lnTo>
                <a:cubicBezTo>
                  <a:pt x="3225470" y="1507931"/>
                  <a:pt x="3211536" y="1493997"/>
                  <a:pt x="3194347" y="1493997"/>
                </a:cubicBezTo>
                <a:close/>
                <a:moveTo>
                  <a:pt x="1507713" y="1487777"/>
                </a:moveTo>
                <a:cubicBezTo>
                  <a:pt x="1491680" y="1487777"/>
                  <a:pt x="1478683" y="1500774"/>
                  <a:pt x="1478683" y="1516807"/>
                </a:cubicBezTo>
                <a:lnTo>
                  <a:pt x="1478683" y="1681887"/>
                </a:lnTo>
                <a:lnTo>
                  <a:pt x="151413" y="1681887"/>
                </a:lnTo>
                <a:cubicBezTo>
                  <a:pt x="122413" y="1681887"/>
                  <a:pt x="98903" y="1705397"/>
                  <a:pt x="98903" y="1734397"/>
                </a:cubicBezTo>
                <a:lnTo>
                  <a:pt x="98903" y="1944433"/>
                </a:lnTo>
                <a:cubicBezTo>
                  <a:pt x="98903" y="1973433"/>
                  <a:pt x="122413" y="1996943"/>
                  <a:pt x="151413" y="1996943"/>
                </a:cubicBezTo>
                <a:lnTo>
                  <a:pt x="1606566" y="1996943"/>
                </a:lnTo>
                <a:cubicBezTo>
                  <a:pt x="1635566" y="1996943"/>
                  <a:pt x="1659076" y="1973433"/>
                  <a:pt x="1659076" y="1944433"/>
                </a:cubicBezTo>
                <a:lnTo>
                  <a:pt x="1659076" y="1734397"/>
                </a:lnTo>
                <a:cubicBezTo>
                  <a:pt x="1659076" y="1727147"/>
                  <a:pt x="1657607" y="1720240"/>
                  <a:pt x="1654950" y="1713958"/>
                </a:cubicBezTo>
                <a:lnTo>
                  <a:pt x="1646492" y="1701414"/>
                </a:lnTo>
                <a:lnTo>
                  <a:pt x="1652857" y="1686047"/>
                </a:lnTo>
                <a:lnTo>
                  <a:pt x="1652857" y="1516807"/>
                </a:lnTo>
                <a:cubicBezTo>
                  <a:pt x="1652857" y="1500774"/>
                  <a:pt x="1639860" y="1487777"/>
                  <a:pt x="1623827" y="1487777"/>
                </a:cubicBezTo>
                <a:close/>
                <a:moveTo>
                  <a:pt x="2811950" y="970572"/>
                </a:moveTo>
                <a:cubicBezTo>
                  <a:pt x="2786107" y="970572"/>
                  <a:pt x="2765157" y="991522"/>
                  <a:pt x="2765157" y="1017365"/>
                </a:cubicBezTo>
                <a:lnTo>
                  <a:pt x="2765157" y="1164359"/>
                </a:lnTo>
                <a:lnTo>
                  <a:pt x="182430" y="1164359"/>
                </a:lnTo>
                <a:cubicBezTo>
                  <a:pt x="156587" y="1164359"/>
                  <a:pt x="135637" y="1185309"/>
                  <a:pt x="135637" y="1211152"/>
                </a:cubicBezTo>
                <a:lnTo>
                  <a:pt x="135637" y="1398317"/>
                </a:lnTo>
                <a:cubicBezTo>
                  <a:pt x="135637" y="1424160"/>
                  <a:pt x="156587" y="1445110"/>
                  <a:pt x="182430" y="1445110"/>
                </a:cubicBezTo>
                <a:lnTo>
                  <a:pt x="3215998" y="1445110"/>
                </a:lnTo>
                <a:cubicBezTo>
                  <a:pt x="3241841" y="1445110"/>
                  <a:pt x="3262791" y="1424160"/>
                  <a:pt x="3262791" y="1398317"/>
                </a:cubicBezTo>
                <a:lnTo>
                  <a:pt x="3262791" y="1211152"/>
                </a:lnTo>
                <a:cubicBezTo>
                  <a:pt x="3262791" y="1204691"/>
                  <a:pt x="3261482" y="1198536"/>
                  <a:pt x="3259114" y="1192938"/>
                </a:cubicBezTo>
                <a:lnTo>
                  <a:pt x="3256570" y="1189165"/>
                </a:lnTo>
                <a:lnTo>
                  <a:pt x="3256570" y="1017365"/>
                </a:lnTo>
                <a:cubicBezTo>
                  <a:pt x="3256570" y="991522"/>
                  <a:pt x="3235620" y="970572"/>
                  <a:pt x="3209777" y="970572"/>
                </a:cubicBezTo>
                <a:close/>
                <a:moveTo>
                  <a:pt x="3033673" y="448024"/>
                </a:moveTo>
                <a:cubicBezTo>
                  <a:pt x="3009052" y="448024"/>
                  <a:pt x="2989092" y="467984"/>
                  <a:pt x="2989092" y="492605"/>
                </a:cubicBezTo>
                <a:lnTo>
                  <a:pt x="2989092" y="666533"/>
                </a:lnTo>
                <a:lnTo>
                  <a:pt x="182430" y="666533"/>
                </a:lnTo>
                <a:cubicBezTo>
                  <a:pt x="156587" y="666533"/>
                  <a:pt x="135637" y="687483"/>
                  <a:pt x="135637" y="713326"/>
                </a:cubicBezTo>
                <a:lnTo>
                  <a:pt x="135637" y="900491"/>
                </a:lnTo>
                <a:cubicBezTo>
                  <a:pt x="135637" y="926334"/>
                  <a:pt x="156587" y="947284"/>
                  <a:pt x="182430" y="947284"/>
                </a:cubicBezTo>
                <a:lnTo>
                  <a:pt x="3215998" y="947284"/>
                </a:lnTo>
                <a:cubicBezTo>
                  <a:pt x="3241841" y="947284"/>
                  <a:pt x="3262791" y="926334"/>
                  <a:pt x="3262791" y="900491"/>
                </a:cubicBezTo>
                <a:lnTo>
                  <a:pt x="3262791" y="713326"/>
                </a:lnTo>
                <a:cubicBezTo>
                  <a:pt x="3262791" y="706865"/>
                  <a:pt x="3261482" y="700711"/>
                  <a:pt x="3259114" y="695112"/>
                </a:cubicBezTo>
                <a:lnTo>
                  <a:pt x="3254737" y="688620"/>
                </a:lnTo>
                <a:lnTo>
                  <a:pt x="3256570" y="684194"/>
                </a:lnTo>
                <a:lnTo>
                  <a:pt x="3256570" y="492605"/>
                </a:lnTo>
                <a:cubicBezTo>
                  <a:pt x="3256570" y="467984"/>
                  <a:pt x="3236610" y="448024"/>
                  <a:pt x="3211989" y="448024"/>
                </a:cubicBezTo>
                <a:close/>
                <a:moveTo>
                  <a:pt x="0" y="0"/>
                </a:moveTo>
                <a:lnTo>
                  <a:pt x="3392798" y="0"/>
                </a:lnTo>
                <a:lnTo>
                  <a:pt x="3392798" y="4883839"/>
                </a:lnTo>
                <a:lnTo>
                  <a:pt x="0" y="488383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5C3DF06C-6B30-03BE-994B-5FE8F423AE61}"/>
              </a:ext>
            </a:extLst>
          </p:cNvPr>
          <p:cNvSpPr txBox="1"/>
          <p:nvPr/>
        </p:nvSpPr>
        <p:spPr>
          <a:xfrm>
            <a:off x="4599991" y="2070592"/>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32" name="TextBox 31">
            <a:extLst>
              <a:ext uri="{FF2B5EF4-FFF2-40B4-BE49-F238E27FC236}">
                <a16:creationId xmlns:a16="http://schemas.microsoft.com/office/drawing/2014/main" id="{577CA90B-63BF-1A28-966A-AB464C91932F}"/>
              </a:ext>
            </a:extLst>
          </p:cNvPr>
          <p:cNvSpPr txBox="1"/>
          <p:nvPr/>
        </p:nvSpPr>
        <p:spPr>
          <a:xfrm>
            <a:off x="4360505" y="2589996"/>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33" name="TextBox 32">
            <a:extLst>
              <a:ext uri="{FF2B5EF4-FFF2-40B4-BE49-F238E27FC236}">
                <a16:creationId xmlns:a16="http://schemas.microsoft.com/office/drawing/2014/main" id="{215F334F-389C-1D67-00A5-18F5DD8B1413}"/>
              </a:ext>
            </a:extLst>
          </p:cNvPr>
          <p:cNvSpPr txBox="1"/>
          <p:nvPr/>
        </p:nvSpPr>
        <p:spPr>
          <a:xfrm>
            <a:off x="4599990" y="3104709"/>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34" name="TextBox 33">
            <a:extLst>
              <a:ext uri="{FF2B5EF4-FFF2-40B4-BE49-F238E27FC236}">
                <a16:creationId xmlns:a16="http://schemas.microsoft.com/office/drawing/2014/main" id="{C594723B-690C-F7A8-909D-0B16E3DCFE53}"/>
              </a:ext>
            </a:extLst>
          </p:cNvPr>
          <p:cNvSpPr txBox="1"/>
          <p:nvPr/>
        </p:nvSpPr>
        <p:spPr>
          <a:xfrm>
            <a:off x="3026358" y="3104708"/>
            <a:ext cx="129235" cy="280751"/>
          </a:xfrm>
          <a:prstGeom prst="rect">
            <a:avLst/>
          </a:prstGeom>
        </p:spPr>
        <p:txBody>
          <a:bodyPr vert="horz" wrap="none" lIns="0" tIns="0" rIns="0" bIns="0" rtlCol="0" anchor="t">
            <a:noAutofit/>
          </a:bodyPr>
          <a:lstStyle/>
          <a:p>
            <a:pPr algn="l"/>
            <a:r>
              <a:rPr lang="en-US" sz="2000" b="1" dirty="0">
                <a:solidFill>
                  <a:schemeClr val="bg1"/>
                </a:solidFill>
              </a:rPr>
              <a:t>4</a:t>
            </a:r>
          </a:p>
        </p:txBody>
      </p:sp>
      <p:sp>
        <p:nvSpPr>
          <p:cNvPr id="35" name="TextBox 34">
            <a:extLst>
              <a:ext uri="{FF2B5EF4-FFF2-40B4-BE49-F238E27FC236}">
                <a16:creationId xmlns:a16="http://schemas.microsoft.com/office/drawing/2014/main" id="{28E6546C-C49B-ACFA-5B5F-A1DE00C1A006}"/>
              </a:ext>
            </a:extLst>
          </p:cNvPr>
          <p:cNvSpPr txBox="1"/>
          <p:nvPr/>
        </p:nvSpPr>
        <p:spPr>
          <a:xfrm>
            <a:off x="4362220" y="3650524"/>
            <a:ext cx="129235" cy="280751"/>
          </a:xfrm>
          <a:prstGeom prst="rect">
            <a:avLst/>
          </a:prstGeom>
        </p:spPr>
        <p:txBody>
          <a:bodyPr vert="horz" wrap="none" lIns="0" tIns="0" rIns="0" bIns="0" rtlCol="0" anchor="t">
            <a:noAutofit/>
          </a:bodyPr>
          <a:lstStyle/>
          <a:p>
            <a:pPr algn="l"/>
            <a:r>
              <a:rPr lang="en-US" sz="2000" b="1" dirty="0">
                <a:solidFill>
                  <a:schemeClr val="bg1"/>
                </a:solidFill>
              </a:rPr>
              <a:t>5</a:t>
            </a:r>
          </a:p>
        </p:txBody>
      </p:sp>
      <p:sp>
        <p:nvSpPr>
          <p:cNvPr id="36" name="TextBox 35">
            <a:extLst>
              <a:ext uri="{FF2B5EF4-FFF2-40B4-BE49-F238E27FC236}">
                <a16:creationId xmlns:a16="http://schemas.microsoft.com/office/drawing/2014/main" id="{185F426E-9F17-9E80-7521-CE8E5AD8B1A3}"/>
              </a:ext>
            </a:extLst>
          </p:cNvPr>
          <p:cNvSpPr txBox="1"/>
          <p:nvPr/>
        </p:nvSpPr>
        <p:spPr>
          <a:xfrm>
            <a:off x="4425122" y="4144526"/>
            <a:ext cx="129235" cy="280751"/>
          </a:xfrm>
          <a:prstGeom prst="rect">
            <a:avLst/>
          </a:prstGeom>
        </p:spPr>
        <p:txBody>
          <a:bodyPr vert="horz" wrap="none" lIns="0" tIns="0" rIns="0" bIns="0" rtlCol="0" anchor="t">
            <a:noAutofit/>
          </a:bodyPr>
          <a:lstStyle/>
          <a:p>
            <a:pPr algn="l"/>
            <a:r>
              <a:rPr lang="en-US" sz="2000" b="1" dirty="0">
                <a:solidFill>
                  <a:schemeClr val="bg1"/>
                </a:solidFill>
              </a:rPr>
              <a:t>6</a:t>
            </a:r>
          </a:p>
        </p:txBody>
      </p:sp>
      <p:sp>
        <p:nvSpPr>
          <p:cNvPr id="37" name="TextBox 36">
            <a:extLst>
              <a:ext uri="{FF2B5EF4-FFF2-40B4-BE49-F238E27FC236}">
                <a16:creationId xmlns:a16="http://schemas.microsoft.com/office/drawing/2014/main" id="{3C3F034B-F349-6F56-B148-61EE8553EE5B}"/>
              </a:ext>
            </a:extLst>
          </p:cNvPr>
          <p:cNvSpPr txBox="1"/>
          <p:nvPr/>
        </p:nvSpPr>
        <p:spPr>
          <a:xfrm>
            <a:off x="4360504" y="5099825"/>
            <a:ext cx="129235" cy="280751"/>
          </a:xfrm>
          <a:prstGeom prst="rect">
            <a:avLst/>
          </a:prstGeom>
        </p:spPr>
        <p:txBody>
          <a:bodyPr vert="horz" wrap="none" lIns="0" tIns="0" rIns="0" bIns="0" rtlCol="0" anchor="t">
            <a:noAutofit/>
          </a:bodyPr>
          <a:lstStyle/>
          <a:p>
            <a:pPr algn="l"/>
            <a:r>
              <a:rPr lang="en-US" sz="2000" b="1" dirty="0">
                <a:solidFill>
                  <a:schemeClr val="bg1"/>
                </a:solidFill>
              </a:rPr>
              <a:t>7</a:t>
            </a:r>
          </a:p>
        </p:txBody>
      </p:sp>
    </p:spTree>
    <p:extLst>
      <p:ext uri="{BB962C8B-B14F-4D97-AF65-F5344CB8AC3E}">
        <p14:creationId xmlns:p14="http://schemas.microsoft.com/office/powerpoint/2010/main" val="2926321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A14D0-FEB8-63C5-5EF9-EA3C0CFB39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113520-CD16-3784-67D8-67B8FAE084A1}"/>
              </a:ext>
            </a:extLst>
          </p:cNvPr>
          <p:cNvSpPr>
            <a:spLocks noGrp="1"/>
          </p:cNvSpPr>
          <p:nvPr>
            <p:ph type="title"/>
          </p:nvPr>
        </p:nvSpPr>
        <p:spPr/>
        <p:txBody>
          <a:bodyPr/>
          <a:lstStyle/>
          <a:p>
            <a:r>
              <a:rPr lang="ar-SA" dirty="0"/>
              <a:t>المبادرات</a:t>
            </a:r>
            <a:endParaRPr lang="en-GB" dirty="0"/>
          </a:p>
        </p:txBody>
      </p:sp>
      <p:sp>
        <p:nvSpPr>
          <p:cNvPr id="3" name="Slide Number Placeholder 2">
            <a:extLst>
              <a:ext uri="{FF2B5EF4-FFF2-40B4-BE49-F238E27FC236}">
                <a16:creationId xmlns:a16="http://schemas.microsoft.com/office/drawing/2014/main" id="{1DB2C53A-FBB0-FB35-DBF2-2C26E2428C44}"/>
              </a:ext>
            </a:extLst>
          </p:cNvPr>
          <p:cNvSpPr>
            <a:spLocks noGrp="1"/>
          </p:cNvSpPr>
          <p:nvPr>
            <p:ph type="sldNum" sz="quarter" idx="4"/>
          </p:nvPr>
        </p:nvSpPr>
        <p:spPr/>
        <p:txBody>
          <a:bodyPr/>
          <a:lstStyle/>
          <a:p>
            <a:fld id="{E75C2C89-F887-4946-9289-77479B29E3CB}" type="slidenum">
              <a:rPr lang="en-US" smtClean="0"/>
              <a:pPr/>
              <a:t>17</a:t>
            </a:fld>
            <a:endParaRPr lang="en-US"/>
          </a:p>
        </p:txBody>
      </p:sp>
    </p:spTree>
    <p:extLst>
      <p:ext uri="{BB962C8B-B14F-4D97-AF65-F5344CB8AC3E}">
        <p14:creationId xmlns:p14="http://schemas.microsoft.com/office/powerpoint/2010/main" val="247013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2C5864E6-80ED-4718-8122-17C86EF4E760}"/>
              </a:ext>
            </a:extLst>
          </p:cNvPr>
          <p:cNvSpPr>
            <a:spLocks noGrp="1"/>
          </p:cNvSpPr>
          <p:nvPr>
            <p:ph type="chart" sz="quarter" idx="21"/>
          </p:nvPr>
        </p:nvSpPr>
        <p:spPr>
          <a:xfrm>
            <a:off x="8502519" y="1880374"/>
            <a:ext cx="3359954" cy="4329346"/>
          </a:xfrm>
        </p:spPr>
        <p:txBody>
          <a:bodyPr/>
          <a:lstStyle/>
          <a:p>
            <a:r>
              <a:rPr lang="ar-SA" dirty="0"/>
              <a:t>في صفحة المبادرات يعرض النظام جميع البرامج التي يرتبط بها المستخدم حسب التبويب والاستراتيجية المختارة من حقل التصفية.</a:t>
            </a:r>
          </a:p>
          <a:p>
            <a:pPr marL="342900" indent="-342900">
              <a:buFont typeface="+mj-lt"/>
              <a:buAutoNum type="arabicPeriod"/>
            </a:pPr>
            <a:r>
              <a:rPr lang="ar-SA" dirty="0"/>
              <a:t>تبويب البرامج</a:t>
            </a:r>
          </a:p>
          <a:p>
            <a:pPr marL="342900" indent="-342900">
              <a:buFont typeface="+mj-lt"/>
              <a:buAutoNum type="arabicPeriod"/>
            </a:pPr>
            <a:r>
              <a:rPr lang="ar-SA" dirty="0"/>
              <a:t>بطاقة البرنامج (يمكن فتحها عن طريق الضغط عليها)</a:t>
            </a:r>
          </a:p>
          <a:p>
            <a:pPr marL="342900" indent="-342900">
              <a:buFont typeface="+mj-lt"/>
              <a:buAutoNum type="arabicPeriod"/>
            </a:pPr>
            <a:r>
              <a:rPr lang="ar-SA" dirty="0"/>
              <a:t>حقل التصفية الخاص بالاستراتيجيات </a:t>
            </a:r>
          </a:p>
          <a:p>
            <a:endParaRPr lang="en-GB" dirty="0"/>
          </a:p>
        </p:txBody>
      </p:sp>
      <p:sp>
        <p:nvSpPr>
          <p:cNvPr id="5" name="Slide Number Placeholder 4">
            <a:extLst>
              <a:ext uri="{FF2B5EF4-FFF2-40B4-BE49-F238E27FC236}">
                <a16:creationId xmlns:a16="http://schemas.microsoft.com/office/drawing/2014/main" id="{8898E191-1D5D-84D0-53C8-A1840EFA45DF}"/>
              </a:ext>
            </a:extLst>
          </p:cNvPr>
          <p:cNvSpPr>
            <a:spLocks noGrp="1"/>
          </p:cNvSpPr>
          <p:nvPr>
            <p:ph type="sldNum" sz="quarter" idx="4"/>
          </p:nvPr>
        </p:nvSpPr>
        <p:spPr/>
        <p:txBody>
          <a:bodyPr/>
          <a:lstStyle/>
          <a:p>
            <a:fld id="{E75C2C89-F887-4946-9289-77479B29E3CB}" type="slidenum">
              <a:rPr lang="en-US" smtClean="0"/>
              <a:pPr/>
              <a:t>18</a:t>
            </a:fld>
            <a:endParaRPr lang="en-US"/>
          </a:p>
        </p:txBody>
      </p:sp>
      <p:sp>
        <p:nvSpPr>
          <p:cNvPr id="7" name="Text Placeholder 6">
            <a:extLst>
              <a:ext uri="{FF2B5EF4-FFF2-40B4-BE49-F238E27FC236}">
                <a16:creationId xmlns:a16="http://schemas.microsoft.com/office/drawing/2014/main" id="{2180768C-59B5-A65E-7618-739BD8D62178}"/>
              </a:ext>
            </a:extLst>
          </p:cNvPr>
          <p:cNvSpPr>
            <a:spLocks noGrp="1"/>
          </p:cNvSpPr>
          <p:nvPr>
            <p:ph type="body" sz="quarter" idx="24"/>
          </p:nvPr>
        </p:nvSpPr>
        <p:spPr/>
        <p:txBody>
          <a:bodyPr/>
          <a:lstStyle/>
          <a:p>
            <a:r>
              <a:rPr lang="ar-SA" dirty="0"/>
              <a:t>البرامج</a:t>
            </a:r>
            <a:endParaRPr lang="en-GB" dirty="0"/>
          </a:p>
        </p:txBody>
      </p:sp>
      <p:sp>
        <p:nvSpPr>
          <p:cNvPr id="8" name="Title 7">
            <a:extLst>
              <a:ext uri="{FF2B5EF4-FFF2-40B4-BE49-F238E27FC236}">
                <a16:creationId xmlns:a16="http://schemas.microsoft.com/office/drawing/2014/main" id="{BA12CF6E-5EBF-8BA9-1BCD-E9D10CB7BBA0}"/>
              </a:ext>
            </a:extLst>
          </p:cNvPr>
          <p:cNvSpPr>
            <a:spLocks noGrp="1"/>
          </p:cNvSpPr>
          <p:nvPr>
            <p:ph type="title"/>
          </p:nvPr>
        </p:nvSpPr>
        <p:spPr/>
        <p:txBody>
          <a:bodyPr/>
          <a:lstStyle/>
          <a:p>
            <a:r>
              <a:rPr lang="ar-SA" dirty="0"/>
              <a:t>المبادرات</a:t>
            </a:r>
            <a:endParaRPr lang="en-GB" dirty="0"/>
          </a:p>
        </p:txBody>
      </p:sp>
      <p:pic>
        <p:nvPicPr>
          <p:cNvPr id="4" name="Picture 3">
            <a:extLst>
              <a:ext uri="{FF2B5EF4-FFF2-40B4-BE49-F238E27FC236}">
                <a16:creationId xmlns:a16="http://schemas.microsoft.com/office/drawing/2014/main" id="{0D1E1868-5938-2707-C427-A807F7EC310C}"/>
              </a:ext>
            </a:extLst>
          </p:cNvPr>
          <p:cNvPicPr>
            <a:picLocks noChangeAspect="1"/>
          </p:cNvPicPr>
          <p:nvPr/>
        </p:nvPicPr>
        <p:blipFill>
          <a:blip r:embed="rId2"/>
          <a:stretch>
            <a:fillRect/>
          </a:stretch>
        </p:blipFill>
        <p:spPr>
          <a:xfrm>
            <a:off x="329527" y="1880374"/>
            <a:ext cx="8039082" cy="4235946"/>
          </a:xfrm>
          <a:prstGeom prst="rect">
            <a:avLst/>
          </a:prstGeom>
        </p:spPr>
      </p:pic>
      <p:sp>
        <p:nvSpPr>
          <p:cNvPr id="12" name="Free-form: Shape 11">
            <a:extLst>
              <a:ext uri="{FF2B5EF4-FFF2-40B4-BE49-F238E27FC236}">
                <a16:creationId xmlns:a16="http://schemas.microsoft.com/office/drawing/2014/main" id="{CB7EF54A-9F2D-AA00-7FA0-174EE19E9BB9}"/>
              </a:ext>
            </a:extLst>
          </p:cNvPr>
          <p:cNvSpPr/>
          <p:nvPr/>
        </p:nvSpPr>
        <p:spPr>
          <a:xfrm>
            <a:off x="344806" y="1900694"/>
            <a:ext cx="8023803" cy="4256266"/>
          </a:xfrm>
          <a:custGeom>
            <a:avLst/>
            <a:gdLst>
              <a:gd name="connsiteX0" fmla="*/ 5902631 w 8023803"/>
              <a:gd name="connsiteY0" fmla="*/ 887760 h 4256266"/>
              <a:gd name="connsiteX1" fmla="*/ 5670683 w 8023803"/>
              <a:gd name="connsiteY1" fmla="*/ 1119708 h 4256266"/>
              <a:gd name="connsiteX2" fmla="*/ 5670683 w 8023803"/>
              <a:gd name="connsiteY2" fmla="*/ 2047471 h 4256266"/>
              <a:gd name="connsiteX3" fmla="*/ 5902631 w 8023803"/>
              <a:gd name="connsiteY3" fmla="*/ 2279419 h 4256266"/>
              <a:gd name="connsiteX4" fmla="*/ 7304502 w 8023803"/>
              <a:gd name="connsiteY4" fmla="*/ 2279419 h 4256266"/>
              <a:gd name="connsiteX5" fmla="*/ 7536450 w 8023803"/>
              <a:gd name="connsiteY5" fmla="*/ 2047471 h 4256266"/>
              <a:gd name="connsiteX6" fmla="*/ 7536450 w 8023803"/>
              <a:gd name="connsiteY6" fmla="*/ 1119708 h 4256266"/>
              <a:gd name="connsiteX7" fmla="*/ 7304502 w 8023803"/>
              <a:gd name="connsiteY7" fmla="*/ 887760 h 4256266"/>
              <a:gd name="connsiteX8" fmla="*/ 201552 w 8023803"/>
              <a:gd name="connsiteY8" fmla="*/ 595403 h 4256266"/>
              <a:gd name="connsiteX9" fmla="*/ 152825 w 8023803"/>
              <a:gd name="connsiteY9" fmla="*/ 644130 h 4256266"/>
              <a:gd name="connsiteX10" fmla="*/ 152825 w 8023803"/>
              <a:gd name="connsiteY10" fmla="*/ 839033 h 4256266"/>
              <a:gd name="connsiteX11" fmla="*/ 201552 w 8023803"/>
              <a:gd name="connsiteY11" fmla="*/ 887760 h 4256266"/>
              <a:gd name="connsiteX12" fmla="*/ 2013765 w 8023803"/>
              <a:gd name="connsiteY12" fmla="*/ 887760 h 4256266"/>
              <a:gd name="connsiteX13" fmla="*/ 2062492 w 8023803"/>
              <a:gd name="connsiteY13" fmla="*/ 839033 h 4256266"/>
              <a:gd name="connsiteX14" fmla="*/ 2062492 w 8023803"/>
              <a:gd name="connsiteY14" fmla="*/ 644130 h 4256266"/>
              <a:gd name="connsiteX15" fmla="*/ 2013765 w 8023803"/>
              <a:gd name="connsiteY15" fmla="*/ 595403 h 4256266"/>
              <a:gd name="connsiteX16" fmla="*/ 7252256 w 8023803"/>
              <a:gd name="connsiteY16" fmla="*/ 324814 h 4256266"/>
              <a:gd name="connsiteX17" fmla="*/ 7214700 w 8023803"/>
              <a:gd name="connsiteY17" fmla="*/ 362370 h 4256266"/>
              <a:gd name="connsiteX18" fmla="*/ 7214700 w 8023803"/>
              <a:gd name="connsiteY18" fmla="*/ 512592 h 4256266"/>
              <a:gd name="connsiteX19" fmla="*/ 7252256 w 8023803"/>
              <a:gd name="connsiteY19" fmla="*/ 550148 h 4256266"/>
              <a:gd name="connsiteX20" fmla="*/ 7598421 w 8023803"/>
              <a:gd name="connsiteY20" fmla="*/ 550148 h 4256266"/>
              <a:gd name="connsiteX21" fmla="*/ 7635977 w 8023803"/>
              <a:gd name="connsiteY21" fmla="*/ 512592 h 4256266"/>
              <a:gd name="connsiteX22" fmla="*/ 7635977 w 8023803"/>
              <a:gd name="connsiteY22" fmla="*/ 362370 h 4256266"/>
              <a:gd name="connsiteX23" fmla="*/ 7598421 w 8023803"/>
              <a:gd name="connsiteY23" fmla="*/ 324814 h 4256266"/>
              <a:gd name="connsiteX24" fmla="*/ 0 w 8023803"/>
              <a:gd name="connsiteY24" fmla="*/ 0 h 4256266"/>
              <a:gd name="connsiteX25" fmla="*/ 8023803 w 8023803"/>
              <a:gd name="connsiteY25" fmla="*/ 0 h 4256266"/>
              <a:gd name="connsiteX26" fmla="*/ 8023803 w 8023803"/>
              <a:gd name="connsiteY26" fmla="*/ 4256266 h 4256266"/>
              <a:gd name="connsiteX27" fmla="*/ 0 w 8023803"/>
              <a:gd name="connsiteY27" fmla="*/ 4256266 h 425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23803" h="4256266">
                <a:moveTo>
                  <a:pt x="5902631" y="887760"/>
                </a:moveTo>
                <a:cubicBezTo>
                  <a:pt x="5774530" y="887760"/>
                  <a:pt x="5670683" y="991607"/>
                  <a:pt x="5670683" y="1119708"/>
                </a:cubicBezTo>
                <a:lnTo>
                  <a:pt x="5670683" y="2047471"/>
                </a:lnTo>
                <a:cubicBezTo>
                  <a:pt x="5670683" y="2175572"/>
                  <a:pt x="5774530" y="2279419"/>
                  <a:pt x="5902631" y="2279419"/>
                </a:cubicBezTo>
                <a:lnTo>
                  <a:pt x="7304502" y="2279419"/>
                </a:lnTo>
                <a:cubicBezTo>
                  <a:pt x="7432603" y="2279419"/>
                  <a:pt x="7536450" y="2175572"/>
                  <a:pt x="7536450" y="2047471"/>
                </a:cubicBezTo>
                <a:lnTo>
                  <a:pt x="7536450" y="1119708"/>
                </a:lnTo>
                <a:cubicBezTo>
                  <a:pt x="7536450" y="991607"/>
                  <a:pt x="7432603" y="887760"/>
                  <a:pt x="7304502" y="887760"/>
                </a:cubicBezTo>
                <a:close/>
                <a:moveTo>
                  <a:pt x="201552" y="595403"/>
                </a:moveTo>
                <a:cubicBezTo>
                  <a:pt x="174641" y="595403"/>
                  <a:pt x="152825" y="617219"/>
                  <a:pt x="152825" y="644130"/>
                </a:cubicBezTo>
                <a:lnTo>
                  <a:pt x="152825" y="839033"/>
                </a:lnTo>
                <a:cubicBezTo>
                  <a:pt x="152825" y="865944"/>
                  <a:pt x="174641" y="887760"/>
                  <a:pt x="201552" y="887760"/>
                </a:cubicBezTo>
                <a:lnTo>
                  <a:pt x="2013765" y="887760"/>
                </a:lnTo>
                <a:cubicBezTo>
                  <a:pt x="2040676" y="887760"/>
                  <a:pt x="2062492" y="865944"/>
                  <a:pt x="2062492" y="839033"/>
                </a:cubicBezTo>
                <a:lnTo>
                  <a:pt x="2062492" y="644130"/>
                </a:lnTo>
                <a:cubicBezTo>
                  <a:pt x="2062492" y="617219"/>
                  <a:pt x="2040676" y="595403"/>
                  <a:pt x="2013765" y="595403"/>
                </a:cubicBezTo>
                <a:close/>
                <a:moveTo>
                  <a:pt x="7252256" y="324814"/>
                </a:moveTo>
                <a:cubicBezTo>
                  <a:pt x="7231514" y="324814"/>
                  <a:pt x="7214700" y="341628"/>
                  <a:pt x="7214700" y="362370"/>
                </a:cubicBezTo>
                <a:lnTo>
                  <a:pt x="7214700" y="512592"/>
                </a:lnTo>
                <a:cubicBezTo>
                  <a:pt x="7214700" y="533334"/>
                  <a:pt x="7231514" y="550148"/>
                  <a:pt x="7252256" y="550148"/>
                </a:cubicBezTo>
                <a:lnTo>
                  <a:pt x="7598421" y="550148"/>
                </a:lnTo>
                <a:cubicBezTo>
                  <a:pt x="7619163" y="550148"/>
                  <a:pt x="7635977" y="533334"/>
                  <a:pt x="7635977" y="512592"/>
                </a:cubicBezTo>
                <a:lnTo>
                  <a:pt x="7635977" y="362370"/>
                </a:lnTo>
                <a:cubicBezTo>
                  <a:pt x="7635977" y="341628"/>
                  <a:pt x="7619163" y="324814"/>
                  <a:pt x="7598421" y="324814"/>
                </a:cubicBezTo>
                <a:close/>
                <a:moveTo>
                  <a:pt x="0" y="0"/>
                </a:moveTo>
                <a:lnTo>
                  <a:pt x="8023803" y="0"/>
                </a:lnTo>
                <a:lnTo>
                  <a:pt x="8023803" y="4256266"/>
                </a:lnTo>
                <a:lnTo>
                  <a:pt x="0" y="4256266"/>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TextBox 12">
            <a:extLst>
              <a:ext uri="{FF2B5EF4-FFF2-40B4-BE49-F238E27FC236}">
                <a16:creationId xmlns:a16="http://schemas.microsoft.com/office/drawing/2014/main" id="{8A771F48-881B-C95F-F86F-DB57910CCCAF}"/>
              </a:ext>
            </a:extLst>
          </p:cNvPr>
          <p:cNvSpPr txBox="1"/>
          <p:nvPr/>
        </p:nvSpPr>
        <p:spPr>
          <a:xfrm>
            <a:off x="7672873" y="1995947"/>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4" name="TextBox 13">
            <a:extLst>
              <a:ext uri="{FF2B5EF4-FFF2-40B4-BE49-F238E27FC236}">
                <a16:creationId xmlns:a16="http://schemas.microsoft.com/office/drawing/2014/main" id="{36138177-E5BD-B4F5-1A58-9B96D81C2F3F}"/>
              </a:ext>
            </a:extLst>
          </p:cNvPr>
          <p:cNvSpPr txBox="1"/>
          <p:nvPr/>
        </p:nvSpPr>
        <p:spPr>
          <a:xfrm>
            <a:off x="6926424" y="2474918"/>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5" name="TextBox 14">
            <a:extLst>
              <a:ext uri="{FF2B5EF4-FFF2-40B4-BE49-F238E27FC236}">
                <a16:creationId xmlns:a16="http://schemas.microsoft.com/office/drawing/2014/main" id="{1A7F9B28-E735-A52F-59F8-5D722EEF574B}"/>
              </a:ext>
            </a:extLst>
          </p:cNvPr>
          <p:cNvSpPr txBox="1"/>
          <p:nvPr/>
        </p:nvSpPr>
        <p:spPr>
          <a:xfrm>
            <a:off x="1446207" y="2194167"/>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3328490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D257708A-44D8-7099-D1E7-3181BFF9353C}"/>
              </a:ext>
            </a:extLst>
          </p:cNvPr>
          <p:cNvSpPr>
            <a:spLocks noGrp="1"/>
          </p:cNvSpPr>
          <p:nvPr>
            <p:ph type="chart" sz="quarter" idx="21"/>
          </p:nvPr>
        </p:nvSpPr>
        <p:spPr>
          <a:xfrm>
            <a:off x="6608715" y="1730449"/>
            <a:ext cx="5130051" cy="4398971"/>
          </a:xfrm>
        </p:spPr>
        <p:txBody>
          <a:bodyPr/>
          <a:lstStyle/>
          <a:p>
            <a:r>
              <a:rPr lang="ar-SA" dirty="0"/>
              <a:t>داخل صفحة البرنامج يعرض النظام تفاصيل البرنامج كالتالي.</a:t>
            </a:r>
          </a:p>
          <a:p>
            <a:pPr marL="342900" indent="-342900">
              <a:buFont typeface="+mj-lt"/>
              <a:buAutoNum type="arabicPeriod"/>
            </a:pPr>
            <a:r>
              <a:rPr lang="ar-SA" dirty="0"/>
              <a:t>تفاصيل البرنامج</a:t>
            </a:r>
          </a:p>
          <a:p>
            <a:pPr marL="342900" indent="-342900">
              <a:buFont typeface="+mj-lt"/>
              <a:buAutoNum type="arabicPeriod"/>
            </a:pPr>
            <a:r>
              <a:rPr lang="ar-SA" dirty="0"/>
              <a:t>بطاقة المبادرة</a:t>
            </a:r>
          </a:p>
        </p:txBody>
      </p:sp>
      <p:sp>
        <p:nvSpPr>
          <p:cNvPr id="5" name="Slide Number Placeholder 4">
            <a:extLst>
              <a:ext uri="{FF2B5EF4-FFF2-40B4-BE49-F238E27FC236}">
                <a16:creationId xmlns:a16="http://schemas.microsoft.com/office/drawing/2014/main" id="{8AB55B3A-5847-C69E-E794-2C865C88215F}"/>
              </a:ext>
            </a:extLst>
          </p:cNvPr>
          <p:cNvSpPr>
            <a:spLocks noGrp="1"/>
          </p:cNvSpPr>
          <p:nvPr>
            <p:ph type="sldNum" sz="quarter" idx="4"/>
          </p:nvPr>
        </p:nvSpPr>
        <p:spPr/>
        <p:txBody>
          <a:bodyPr/>
          <a:lstStyle/>
          <a:p>
            <a:fld id="{E75C2C89-F887-4946-9289-77479B29E3CB}" type="slidenum">
              <a:rPr lang="en-US" smtClean="0"/>
              <a:pPr/>
              <a:t>19</a:t>
            </a:fld>
            <a:endParaRPr lang="en-US"/>
          </a:p>
        </p:txBody>
      </p:sp>
      <p:sp>
        <p:nvSpPr>
          <p:cNvPr id="7" name="Text Placeholder 6">
            <a:extLst>
              <a:ext uri="{FF2B5EF4-FFF2-40B4-BE49-F238E27FC236}">
                <a16:creationId xmlns:a16="http://schemas.microsoft.com/office/drawing/2014/main" id="{C4DE71F3-FAB7-2EC0-14BB-AC9DAE5DFB39}"/>
              </a:ext>
            </a:extLst>
          </p:cNvPr>
          <p:cNvSpPr>
            <a:spLocks noGrp="1"/>
          </p:cNvSpPr>
          <p:nvPr>
            <p:ph type="body" sz="quarter" idx="24"/>
          </p:nvPr>
        </p:nvSpPr>
        <p:spPr/>
        <p:txBody>
          <a:bodyPr/>
          <a:lstStyle/>
          <a:p>
            <a:r>
              <a:rPr lang="ar-SA" dirty="0"/>
              <a:t>البرامج</a:t>
            </a:r>
            <a:endParaRPr lang="en-GB" dirty="0"/>
          </a:p>
        </p:txBody>
      </p:sp>
      <p:sp>
        <p:nvSpPr>
          <p:cNvPr id="8" name="Title 7">
            <a:extLst>
              <a:ext uri="{FF2B5EF4-FFF2-40B4-BE49-F238E27FC236}">
                <a16:creationId xmlns:a16="http://schemas.microsoft.com/office/drawing/2014/main" id="{C43DBB49-F3F9-E3AB-350C-2C86AA2CC080}"/>
              </a:ext>
            </a:extLst>
          </p:cNvPr>
          <p:cNvSpPr>
            <a:spLocks noGrp="1"/>
          </p:cNvSpPr>
          <p:nvPr>
            <p:ph type="title"/>
          </p:nvPr>
        </p:nvSpPr>
        <p:spPr/>
        <p:txBody>
          <a:bodyPr/>
          <a:lstStyle/>
          <a:p>
            <a:r>
              <a:rPr lang="ar-SA" dirty="0"/>
              <a:t>المبادرات</a:t>
            </a:r>
            <a:endParaRPr lang="en-GB" dirty="0"/>
          </a:p>
        </p:txBody>
      </p:sp>
      <p:pic>
        <p:nvPicPr>
          <p:cNvPr id="4" name="Picture 3">
            <a:extLst>
              <a:ext uri="{FF2B5EF4-FFF2-40B4-BE49-F238E27FC236}">
                <a16:creationId xmlns:a16="http://schemas.microsoft.com/office/drawing/2014/main" id="{17199B47-0B68-D3FA-82C2-E47AD3AB59B7}"/>
              </a:ext>
            </a:extLst>
          </p:cNvPr>
          <p:cNvPicPr>
            <a:picLocks noChangeAspect="1"/>
          </p:cNvPicPr>
          <p:nvPr/>
        </p:nvPicPr>
        <p:blipFill>
          <a:blip r:embed="rId2"/>
          <a:stretch>
            <a:fillRect/>
          </a:stretch>
        </p:blipFill>
        <p:spPr>
          <a:xfrm>
            <a:off x="453234" y="2133600"/>
            <a:ext cx="8345325" cy="4246930"/>
          </a:xfrm>
          <a:prstGeom prst="rect">
            <a:avLst/>
          </a:prstGeom>
        </p:spPr>
      </p:pic>
      <p:sp>
        <p:nvSpPr>
          <p:cNvPr id="10" name="Free-form: Shape 9">
            <a:extLst>
              <a:ext uri="{FF2B5EF4-FFF2-40B4-BE49-F238E27FC236}">
                <a16:creationId xmlns:a16="http://schemas.microsoft.com/office/drawing/2014/main" id="{6B2FFDFF-E4E6-3B3B-9BA6-3B12B2128CF5}"/>
              </a:ext>
            </a:extLst>
          </p:cNvPr>
          <p:cNvSpPr/>
          <p:nvPr/>
        </p:nvSpPr>
        <p:spPr>
          <a:xfrm>
            <a:off x="453234" y="2133598"/>
            <a:ext cx="8345325" cy="4246931"/>
          </a:xfrm>
          <a:custGeom>
            <a:avLst/>
            <a:gdLst>
              <a:gd name="connsiteX0" fmla="*/ 8345325 w 8345325"/>
              <a:gd name="connsiteY0" fmla="*/ 3788201 h 4246931"/>
              <a:gd name="connsiteX1" fmla="*/ 8345325 w 8345325"/>
              <a:gd name="connsiteY1" fmla="*/ 4246931 h 4246931"/>
              <a:gd name="connsiteX2" fmla="*/ 7886595 w 8345325"/>
              <a:gd name="connsiteY2" fmla="*/ 4246931 h 4246931"/>
              <a:gd name="connsiteX3" fmla="*/ 8345325 w 8345325"/>
              <a:gd name="connsiteY3" fmla="*/ 3788201 h 4246931"/>
              <a:gd name="connsiteX4" fmla="*/ 3948255 w 8345325"/>
              <a:gd name="connsiteY4" fmla="*/ 693543 h 4246931"/>
              <a:gd name="connsiteX5" fmla="*/ 3709930 w 8345325"/>
              <a:gd name="connsiteY5" fmla="*/ 931868 h 4246931"/>
              <a:gd name="connsiteX6" fmla="*/ 3709930 w 8345325"/>
              <a:gd name="connsiteY6" fmla="*/ 1885140 h 4246931"/>
              <a:gd name="connsiteX7" fmla="*/ 3948255 w 8345325"/>
              <a:gd name="connsiteY7" fmla="*/ 2123465 h 4246931"/>
              <a:gd name="connsiteX8" fmla="*/ 5267592 w 8345325"/>
              <a:gd name="connsiteY8" fmla="*/ 2123465 h 4246931"/>
              <a:gd name="connsiteX9" fmla="*/ 5505917 w 8345325"/>
              <a:gd name="connsiteY9" fmla="*/ 1885140 h 4246931"/>
              <a:gd name="connsiteX10" fmla="*/ 5505917 w 8345325"/>
              <a:gd name="connsiteY10" fmla="*/ 931868 h 4246931"/>
              <a:gd name="connsiteX11" fmla="*/ 5267592 w 8345325"/>
              <a:gd name="connsiteY11" fmla="*/ 693543 h 4246931"/>
              <a:gd name="connsiteX12" fmla="*/ 0 w 8345325"/>
              <a:gd name="connsiteY12" fmla="*/ 0 h 4246931"/>
              <a:gd name="connsiteX13" fmla="*/ 8345325 w 8345325"/>
              <a:gd name="connsiteY13" fmla="*/ 0 h 4246931"/>
              <a:gd name="connsiteX14" fmla="*/ 8345325 w 8345325"/>
              <a:gd name="connsiteY14" fmla="*/ 919042 h 4246931"/>
              <a:gd name="connsiteX15" fmla="*/ 7886595 w 8345325"/>
              <a:gd name="connsiteY15" fmla="*/ 460312 h 4246931"/>
              <a:gd name="connsiteX16" fmla="*/ 6051733 w 8345325"/>
              <a:gd name="connsiteY16" fmla="*/ 460312 h 4246931"/>
              <a:gd name="connsiteX17" fmla="*/ 5593003 w 8345325"/>
              <a:gd name="connsiteY17" fmla="*/ 919042 h 4246931"/>
              <a:gd name="connsiteX18" fmla="*/ 5593003 w 8345325"/>
              <a:gd name="connsiteY18" fmla="*/ 3788201 h 4246931"/>
              <a:gd name="connsiteX19" fmla="*/ 6051733 w 8345325"/>
              <a:gd name="connsiteY19" fmla="*/ 4246931 h 4246931"/>
              <a:gd name="connsiteX20" fmla="*/ 0 w 8345325"/>
              <a:gd name="connsiteY20" fmla="*/ 4246931 h 424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45325" h="4246931">
                <a:moveTo>
                  <a:pt x="8345325" y="3788201"/>
                </a:moveTo>
                <a:lnTo>
                  <a:pt x="8345325" y="4246931"/>
                </a:lnTo>
                <a:lnTo>
                  <a:pt x="7886595" y="4246931"/>
                </a:lnTo>
                <a:cubicBezTo>
                  <a:pt x="8139945" y="4246931"/>
                  <a:pt x="8345325" y="4041551"/>
                  <a:pt x="8345325" y="3788201"/>
                </a:cubicBezTo>
                <a:close/>
                <a:moveTo>
                  <a:pt x="3948255" y="693543"/>
                </a:moveTo>
                <a:cubicBezTo>
                  <a:pt x="3816632" y="693543"/>
                  <a:pt x="3709930" y="800245"/>
                  <a:pt x="3709930" y="931868"/>
                </a:cubicBezTo>
                <a:lnTo>
                  <a:pt x="3709930" y="1885140"/>
                </a:lnTo>
                <a:cubicBezTo>
                  <a:pt x="3709930" y="2016763"/>
                  <a:pt x="3816632" y="2123465"/>
                  <a:pt x="3948255" y="2123465"/>
                </a:cubicBezTo>
                <a:lnTo>
                  <a:pt x="5267592" y="2123465"/>
                </a:lnTo>
                <a:cubicBezTo>
                  <a:pt x="5399215" y="2123465"/>
                  <a:pt x="5505917" y="2016763"/>
                  <a:pt x="5505917" y="1885140"/>
                </a:cubicBezTo>
                <a:lnTo>
                  <a:pt x="5505917" y="931868"/>
                </a:lnTo>
                <a:cubicBezTo>
                  <a:pt x="5505917" y="800245"/>
                  <a:pt x="5399215" y="693543"/>
                  <a:pt x="5267592" y="693543"/>
                </a:cubicBezTo>
                <a:close/>
                <a:moveTo>
                  <a:pt x="0" y="0"/>
                </a:moveTo>
                <a:lnTo>
                  <a:pt x="8345325" y="0"/>
                </a:lnTo>
                <a:lnTo>
                  <a:pt x="8345325" y="919042"/>
                </a:lnTo>
                <a:cubicBezTo>
                  <a:pt x="8345325" y="665692"/>
                  <a:pt x="8139945" y="460312"/>
                  <a:pt x="7886595" y="460312"/>
                </a:cubicBezTo>
                <a:lnTo>
                  <a:pt x="6051733" y="460312"/>
                </a:lnTo>
                <a:cubicBezTo>
                  <a:pt x="5798383" y="460312"/>
                  <a:pt x="5593003" y="665692"/>
                  <a:pt x="5593003" y="919042"/>
                </a:cubicBezTo>
                <a:lnTo>
                  <a:pt x="5593003" y="3788201"/>
                </a:lnTo>
                <a:cubicBezTo>
                  <a:pt x="5593003" y="4041551"/>
                  <a:pt x="5798383" y="4246931"/>
                  <a:pt x="6051733" y="4246931"/>
                </a:cubicBezTo>
                <a:lnTo>
                  <a:pt x="0" y="4246931"/>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TextBox 10">
            <a:extLst>
              <a:ext uri="{FF2B5EF4-FFF2-40B4-BE49-F238E27FC236}">
                <a16:creationId xmlns:a16="http://schemas.microsoft.com/office/drawing/2014/main" id="{0BAB2C18-8669-2278-8978-EF00C056E0AD}"/>
              </a:ext>
            </a:extLst>
          </p:cNvPr>
          <p:cNvSpPr txBox="1"/>
          <p:nvPr/>
        </p:nvSpPr>
        <p:spPr>
          <a:xfrm>
            <a:off x="7542244" y="2313187"/>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2" name="TextBox 11">
            <a:extLst>
              <a:ext uri="{FF2B5EF4-FFF2-40B4-BE49-F238E27FC236}">
                <a16:creationId xmlns:a16="http://schemas.microsoft.com/office/drawing/2014/main" id="{C95932FA-E7E7-2E32-8A71-6BB6DA1814CD}"/>
              </a:ext>
            </a:extLst>
          </p:cNvPr>
          <p:cNvSpPr txBox="1"/>
          <p:nvPr/>
        </p:nvSpPr>
        <p:spPr>
          <a:xfrm>
            <a:off x="5054081" y="2568279"/>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Tree>
    <p:extLst>
      <p:ext uri="{BB962C8B-B14F-4D97-AF65-F5344CB8AC3E}">
        <p14:creationId xmlns:p14="http://schemas.microsoft.com/office/powerpoint/2010/main" val="2129961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C5FAE-8E81-7C50-6FFD-6F895C83C5DC}"/>
              </a:ext>
            </a:extLst>
          </p:cNvPr>
          <p:cNvSpPr>
            <a:spLocks noGrp="1"/>
          </p:cNvSpPr>
          <p:nvPr>
            <p:ph type="title"/>
          </p:nvPr>
        </p:nvSpPr>
        <p:spPr/>
        <p:txBody>
          <a:bodyPr/>
          <a:lstStyle/>
          <a:p>
            <a:r>
              <a:rPr lang="ar-SA" dirty="0"/>
              <a:t>المحتوى</a:t>
            </a:r>
            <a:endParaRPr lang="en-US" dirty="0"/>
          </a:p>
        </p:txBody>
      </p:sp>
      <p:sp>
        <p:nvSpPr>
          <p:cNvPr id="3" name="Slide Number Placeholder 2">
            <a:extLst>
              <a:ext uri="{FF2B5EF4-FFF2-40B4-BE49-F238E27FC236}">
                <a16:creationId xmlns:a16="http://schemas.microsoft.com/office/drawing/2014/main" id="{3B182B92-76D5-3E86-8100-F1AFB094247D}"/>
              </a:ext>
            </a:extLst>
          </p:cNvPr>
          <p:cNvSpPr>
            <a:spLocks noGrp="1"/>
          </p:cNvSpPr>
          <p:nvPr>
            <p:ph type="sldNum" sz="quarter" idx="4"/>
          </p:nvPr>
        </p:nvSpPr>
        <p:spPr/>
        <p:txBody>
          <a:bodyPr/>
          <a:lstStyle/>
          <a:p>
            <a:fld id="{E75C2C89-F887-4946-9289-77479B29E3CB}" type="slidenum">
              <a:rPr lang="en-US" smtClean="0"/>
              <a:pPr/>
              <a:t>2</a:t>
            </a:fld>
            <a:endParaRPr lang="en-US"/>
          </a:p>
        </p:txBody>
      </p:sp>
    </p:spTree>
    <p:extLst>
      <p:ext uri="{BB962C8B-B14F-4D97-AF65-F5344CB8AC3E}">
        <p14:creationId xmlns:p14="http://schemas.microsoft.com/office/powerpoint/2010/main" val="3922581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6F1F0A-78D6-201D-524A-78DD06467DC2}"/>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CC4792BF-F1E9-CB4A-1E60-20C697A057AF}"/>
              </a:ext>
            </a:extLst>
          </p:cNvPr>
          <p:cNvSpPr>
            <a:spLocks noGrp="1"/>
          </p:cNvSpPr>
          <p:nvPr>
            <p:ph type="chart" sz="quarter" idx="21"/>
          </p:nvPr>
        </p:nvSpPr>
        <p:spPr>
          <a:xfrm>
            <a:off x="6658467" y="1791667"/>
            <a:ext cx="5130051" cy="4329346"/>
          </a:xfrm>
        </p:spPr>
        <p:txBody>
          <a:bodyPr/>
          <a:lstStyle/>
          <a:p>
            <a:r>
              <a:rPr lang="ar-SA" dirty="0"/>
              <a:t>في صفحة المبادرات يعرض النظام جميع المبادرات التي يرتبط بها المستخدم حسب التبويب والاستراتيجية المختارة من حقل التصفية.</a:t>
            </a:r>
          </a:p>
          <a:p>
            <a:pPr marL="342900" indent="-342900">
              <a:buFont typeface="+mj-lt"/>
              <a:buAutoNum type="arabicPeriod"/>
            </a:pPr>
            <a:r>
              <a:rPr lang="ar-SA" dirty="0"/>
              <a:t>تبويب المبادرة</a:t>
            </a:r>
          </a:p>
          <a:p>
            <a:pPr marL="342900" indent="-342900">
              <a:buFont typeface="+mj-lt"/>
              <a:buAutoNum type="arabicPeriod"/>
            </a:pPr>
            <a:r>
              <a:rPr lang="ar-SA" dirty="0"/>
              <a:t>بطاقة المبادرة (يمكن فتحها عن طريق </a:t>
            </a:r>
            <a:br>
              <a:rPr lang="en-US" dirty="0"/>
            </a:br>
            <a:r>
              <a:rPr lang="ar-SA" dirty="0"/>
              <a:t>الضغط عليها)</a:t>
            </a:r>
          </a:p>
          <a:p>
            <a:pPr marL="342900" indent="-342900">
              <a:buFont typeface="+mj-lt"/>
              <a:buAutoNum type="arabicPeriod"/>
            </a:pPr>
            <a:r>
              <a:rPr lang="ar-SA" dirty="0"/>
              <a:t>حقل التصفية الخاص بالاستراتيجيات </a:t>
            </a:r>
          </a:p>
          <a:p>
            <a:endParaRPr lang="en-GB" dirty="0"/>
          </a:p>
        </p:txBody>
      </p:sp>
      <p:sp>
        <p:nvSpPr>
          <p:cNvPr id="5" name="Slide Number Placeholder 4">
            <a:extLst>
              <a:ext uri="{FF2B5EF4-FFF2-40B4-BE49-F238E27FC236}">
                <a16:creationId xmlns:a16="http://schemas.microsoft.com/office/drawing/2014/main" id="{889626B0-4997-875C-5832-5407BAEA095F}"/>
              </a:ext>
            </a:extLst>
          </p:cNvPr>
          <p:cNvSpPr>
            <a:spLocks noGrp="1"/>
          </p:cNvSpPr>
          <p:nvPr>
            <p:ph type="sldNum" sz="quarter" idx="4"/>
          </p:nvPr>
        </p:nvSpPr>
        <p:spPr/>
        <p:txBody>
          <a:bodyPr/>
          <a:lstStyle/>
          <a:p>
            <a:fld id="{E75C2C89-F887-4946-9289-77479B29E3CB}" type="slidenum">
              <a:rPr lang="en-US" smtClean="0"/>
              <a:pPr/>
              <a:t>20</a:t>
            </a:fld>
            <a:endParaRPr lang="en-US"/>
          </a:p>
        </p:txBody>
      </p:sp>
      <p:sp>
        <p:nvSpPr>
          <p:cNvPr id="7" name="Text Placeholder 6">
            <a:extLst>
              <a:ext uri="{FF2B5EF4-FFF2-40B4-BE49-F238E27FC236}">
                <a16:creationId xmlns:a16="http://schemas.microsoft.com/office/drawing/2014/main" id="{A7BF3CBC-526B-20D6-C89D-2EBFCE60A850}"/>
              </a:ext>
            </a:extLst>
          </p:cNvPr>
          <p:cNvSpPr>
            <a:spLocks noGrp="1"/>
          </p:cNvSpPr>
          <p:nvPr>
            <p:ph type="body" sz="quarter" idx="24"/>
          </p:nvPr>
        </p:nvSpPr>
        <p:spPr/>
        <p:txBody>
          <a:bodyPr/>
          <a:lstStyle/>
          <a:p>
            <a:r>
              <a:rPr lang="ar-SA" dirty="0"/>
              <a:t>مبادرة</a:t>
            </a:r>
            <a:endParaRPr lang="en-GB" dirty="0"/>
          </a:p>
        </p:txBody>
      </p:sp>
      <p:sp>
        <p:nvSpPr>
          <p:cNvPr id="8" name="Title 7">
            <a:extLst>
              <a:ext uri="{FF2B5EF4-FFF2-40B4-BE49-F238E27FC236}">
                <a16:creationId xmlns:a16="http://schemas.microsoft.com/office/drawing/2014/main" id="{47CE1955-3A1C-FF17-A3FF-4AAC03BACE96}"/>
              </a:ext>
            </a:extLst>
          </p:cNvPr>
          <p:cNvSpPr>
            <a:spLocks noGrp="1"/>
          </p:cNvSpPr>
          <p:nvPr>
            <p:ph type="title"/>
          </p:nvPr>
        </p:nvSpPr>
        <p:spPr/>
        <p:txBody>
          <a:bodyPr/>
          <a:lstStyle/>
          <a:p>
            <a:r>
              <a:rPr lang="ar-SA" dirty="0"/>
              <a:t>المبادرات</a:t>
            </a:r>
            <a:endParaRPr lang="en-GB" dirty="0"/>
          </a:p>
        </p:txBody>
      </p:sp>
      <p:pic>
        <p:nvPicPr>
          <p:cNvPr id="9" name="Picture 8">
            <a:extLst>
              <a:ext uri="{FF2B5EF4-FFF2-40B4-BE49-F238E27FC236}">
                <a16:creationId xmlns:a16="http://schemas.microsoft.com/office/drawing/2014/main" id="{E1A5B9A4-9036-B399-6665-C032EC72611B}"/>
              </a:ext>
            </a:extLst>
          </p:cNvPr>
          <p:cNvPicPr>
            <a:picLocks noChangeAspect="1"/>
          </p:cNvPicPr>
          <p:nvPr/>
        </p:nvPicPr>
        <p:blipFill>
          <a:blip r:embed="rId2"/>
          <a:stretch>
            <a:fillRect/>
          </a:stretch>
        </p:blipFill>
        <p:spPr>
          <a:xfrm>
            <a:off x="403482" y="2241276"/>
            <a:ext cx="7765158" cy="4102399"/>
          </a:xfrm>
          <a:prstGeom prst="rect">
            <a:avLst/>
          </a:prstGeom>
        </p:spPr>
      </p:pic>
      <p:sp>
        <p:nvSpPr>
          <p:cNvPr id="11" name="Free-form: Shape 10">
            <a:extLst>
              <a:ext uri="{FF2B5EF4-FFF2-40B4-BE49-F238E27FC236}">
                <a16:creationId xmlns:a16="http://schemas.microsoft.com/office/drawing/2014/main" id="{EE1B0FFC-9526-E6FA-656B-3CB064C42A8B}"/>
              </a:ext>
            </a:extLst>
          </p:cNvPr>
          <p:cNvSpPr/>
          <p:nvPr/>
        </p:nvSpPr>
        <p:spPr>
          <a:xfrm>
            <a:off x="403481" y="2241275"/>
            <a:ext cx="7765159" cy="4102399"/>
          </a:xfrm>
          <a:custGeom>
            <a:avLst/>
            <a:gdLst>
              <a:gd name="connsiteX0" fmla="*/ 5716544 w 7765159"/>
              <a:gd name="connsiteY0" fmla="*/ 895422 h 4102399"/>
              <a:gd name="connsiteX1" fmla="*/ 5500541 w 7765159"/>
              <a:gd name="connsiteY1" fmla="*/ 1111425 h 4102399"/>
              <a:gd name="connsiteX2" fmla="*/ 5500541 w 7765159"/>
              <a:gd name="connsiteY2" fmla="*/ 1975409 h 4102399"/>
              <a:gd name="connsiteX3" fmla="*/ 5716544 w 7765159"/>
              <a:gd name="connsiteY3" fmla="*/ 2191412 h 4102399"/>
              <a:gd name="connsiteX4" fmla="*/ 7056499 w 7765159"/>
              <a:gd name="connsiteY4" fmla="*/ 2191412 h 4102399"/>
              <a:gd name="connsiteX5" fmla="*/ 7272502 w 7765159"/>
              <a:gd name="connsiteY5" fmla="*/ 1975409 h 4102399"/>
              <a:gd name="connsiteX6" fmla="*/ 7272502 w 7765159"/>
              <a:gd name="connsiteY6" fmla="*/ 1111425 h 4102399"/>
              <a:gd name="connsiteX7" fmla="*/ 7056499 w 7765159"/>
              <a:gd name="connsiteY7" fmla="*/ 895422 h 4102399"/>
              <a:gd name="connsiteX8" fmla="*/ 192100 w 7765159"/>
              <a:gd name="connsiteY8" fmla="*/ 586867 h 4102399"/>
              <a:gd name="connsiteX9" fmla="*/ 143783 w 7765159"/>
              <a:gd name="connsiteY9" fmla="*/ 635184 h 4102399"/>
              <a:gd name="connsiteX10" fmla="*/ 143783 w 7765159"/>
              <a:gd name="connsiteY10" fmla="*/ 828445 h 4102399"/>
              <a:gd name="connsiteX11" fmla="*/ 192100 w 7765159"/>
              <a:gd name="connsiteY11" fmla="*/ 876762 h 4102399"/>
              <a:gd name="connsiteX12" fmla="*/ 1961719 w 7765159"/>
              <a:gd name="connsiteY12" fmla="*/ 876762 h 4102399"/>
              <a:gd name="connsiteX13" fmla="*/ 2010036 w 7765159"/>
              <a:gd name="connsiteY13" fmla="*/ 828445 h 4102399"/>
              <a:gd name="connsiteX14" fmla="*/ 2010036 w 7765159"/>
              <a:gd name="connsiteY14" fmla="*/ 635184 h 4102399"/>
              <a:gd name="connsiteX15" fmla="*/ 1961719 w 7765159"/>
              <a:gd name="connsiteY15" fmla="*/ 586867 h 4102399"/>
              <a:gd name="connsiteX16" fmla="*/ 6604752 w 7765159"/>
              <a:gd name="connsiteY16" fmla="*/ 347380 h 4102399"/>
              <a:gd name="connsiteX17" fmla="*/ 6571307 w 7765159"/>
              <a:gd name="connsiteY17" fmla="*/ 380825 h 4102399"/>
              <a:gd name="connsiteX18" fmla="*/ 6571307 w 7765159"/>
              <a:gd name="connsiteY18" fmla="*/ 514598 h 4102399"/>
              <a:gd name="connsiteX19" fmla="*/ 6604752 w 7765159"/>
              <a:gd name="connsiteY19" fmla="*/ 548043 h 4102399"/>
              <a:gd name="connsiteX20" fmla="*/ 6934258 w 7765159"/>
              <a:gd name="connsiteY20" fmla="*/ 548043 h 4102399"/>
              <a:gd name="connsiteX21" fmla="*/ 6967703 w 7765159"/>
              <a:gd name="connsiteY21" fmla="*/ 514598 h 4102399"/>
              <a:gd name="connsiteX22" fmla="*/ 6967703 w 7765159"/>
              <a:gd name="connsiteY22" fmla="*/ 380825 h 4102399"/>
              <a:gd name="connsiteX23" fmla="*/ 6934258 w 7765159"/>
              <a:gd name="connsiteY23" fmla="*/ 347380 h 4102399"/>
              <a:gd name="connsiteX24" fmla="*/ 0 w 7765159"/>
              <a:gd name="connsiteY24" fmla="*/ 0 h 4102399"/>
              <a:gd name="connsiteX25" fmla="*/ 7765159 w 7765159"/>
              <a:gd name="connsiteY25" fmla="*/ 0 h 4102399"/>
              <a:gd name="connsiteX26" fmla="*/ 7765159 w 7765159"/>
              <a:gd name="connsiteY26" fmla="*/ 4102399 h 4102399"/>
              <a:gd name="connsiteX27" fmla="*/ 0 w 7765159"/>
              <a:gd name="connsiteY27" fmla="*/ 4102399 h 410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65159" h="4102399">
                <a:moveTo>
                  <a:pt x="5716544" y="895422"/>
                </a:moveTo>
                <a:cubicBezTo>
                  <a:pt x="5597249" y="895422"/>
                  <a:pt x="5500541" y="992130"/>
                  <a:pt x="5500541" y="1111425"/>
                </a:cubicBezTo>
                <a:lnTo>
                  <a:pt x="5500541" y="1975409"/>
                </a:lnTo>
                <a:cubicBezTo>
                  <a:pt x="5500541" y="2094704"/>
                  <a:pt x="5597249" y="2191412"/>
                  <a:pt x="5716544" y="2191412"/>
                </a:cubicBezTo>
                <a:lnTo>
                  <a:pt x="7056499" y="2191412"/>
                </a:lnTo>
                <a:cubicBezTo>
                  <a:pt x="7175794" y="2191412"/>
                  <a:pt x="7272502" y="2094704"/>
                  <a:pt x="7272502" y="1975409"/>
                </a:cubicBezTo>
                <a:lnTo>
                  <a:pt x="7272502" y="1111425"/>
                </a:lnTo>
                <a:cubicBezTo>
                  <a:pt x="7272502" y="992130"/>
                  <a:pt x="7175794" y="895422"/>
                  <a:pt x="7056499" y="895422"/>
                </a:cubicBezTo>
                <a:close/>
                <a:moveTo>
                  <a:pt x="192100" y="586867"/>
                </a:moveTo>
                <a:cubicBezTo>
                  <a:pt x="165415" y="586867"/>
                  <a:pt x="143783" y="608499"/>
                  <a:pt x="143783" y="635184"/>
                </a:cubicBezTo>
                <a:lnTo>
                  <a:pt x="143783" y="828445"/>
                </a:lnTo>
                <a:cubicBezTo>
                  <a:pt x="143783" y="855130"/>
                  <a:pt x="165415" y="876762"/>
                  <a:pt x="192100" y="876762"/>
                </a:cubicBezTo>
                <a:lnTo>
                  <a:pt x="1961719" y="876762"/>
                </a:lnTo>
                <a:cubicBezTo>
                  <a:pt x="1988404" y="876762"/>
                  <a:pt x="2010036" y="855130"/>
                  <a:pt x="2010036" y="828445"/>
                </a:cubicBezTo>
                <a:lnTo>
                  <a:pt x="2010036" y="635184"/>
                </a:lnTo>
                <a:cubicBezTo>
                  <a:pt x="2010036" y="608499"/>
                  <a:pt x="1988404" y="586867"/>
                  <a:pt x="1961719" y="586867"/>
                </a:cubicBezTo>
                <a:close/>
                <a:moveTo>
                  <a:pt x="6604752" y="347380"/>
                </a:moveTo>
                <a:cubicBezTo>
                  <a:pt x="6586281" y="347380"/>
                  <a:pt x="6571307" y="362354"/>
                  <a:pt x="6571307" y="380825"/>
                </a:cubicBezTo>
                <a:lnTo>
                  <a:pt x="6571307" y="514598"/>
                </a:lnTo>
                <a:cubicBezTo>
                  <a:pt x="6571307" y="533069"/>
                  <a:pt x="6586281" y="548043"/>
                  <a:pt x="6604752" y="548043"/>
                </a:cubicBezTo>
                <a:lnTo>
                  <a:pt x="6934258" y="548043"/>
                </a:lnTo>
                <a:cubicBezTo>
                  <a:pt x="6952729" y="548043"/>
                  <a:pt x="6967703" y="533069"/>
                  <a:pt x="6967703" y="514598"/>
                </a:cubicBezTo>
                <a:lnTo>
                  <a:pt x="6967703" y="380825"/>
                </a:lnTo>
                <a:cubicBezTo>
                  <a:pt x="6967703" y="362354"/>
                  <a:pt x="6952729" y="347380"/>
                  <a:pt x="6934258" y="347380"/>
                </a:cubicBezTo>
                <a:close/>
                <a:moveTo>
                  <a:pt x="0" y="0"/>
                </a:moveTo>
                <a:lnTo>
                  <a:pt x="7765159" y="0"/>
                </a:lnTo>
                <a:lnTo>
                  <a:pt x="7765159" y="4102399"/>
                </a:lnTo>
                <a:lnTo>
                  <a:pt x="0" y="410239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TextBox 11">
            <a:extLst>
              <a:ext uri="{FF2B5EF4-FFF2-40B4-BE49-F238E27FC236}">
                <a16:creationId xmlns:a16="http://schemas.microsoft.com/office/drawing/2014/main" id="{2E840CB4-AD17-9EB7-9E0A-2D1EAEA6FDB3}"/>
              </a:ext>
            </a:extLst>
          </p:cNvPr>
          <p:cNvSpPr txBox="1"/>
          <p:nvPr/>
        </p:nvSpPr>
        <p:spPr>
          <a:xfrm>
            <a:off x="7119256" y="2326564"/>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3" name="TextBox 12">
            <a:extLst>
              <a:ext uri="{FF2B5EF4-FFF2-40B4-BE49-F238E27FC236}">
                <a16:creationId xmlns:a16="http://schemas.microsoft.com/office/drawing/2014/main" id="{C711BA1D-C573-868A-9C52-760C3A602086}"/>
              </a:ext>
            </a:extLst>
          </p:cNvPr>
          <p:cNvSpPr txBox="1"/>
          <p:nvPr/>
        </p:nvSpPr>
        <p:spPr>
          <a:xfrm>
            <a:off x="6814456" y="2835701"/>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4" name="TextBox 13">
            <a:extLst>
              <a:ext uri="{FF2B5EF4-FFF2-40B4-BE49-F238E27FC236}">
                <a16:creationId xmlns:a16="http://schemas.microsoft.com/office/drawing/2014/main" id="{CF3C8484-6A4A-347F-D516-A908E5A224D2}"/>
              </a:ext>
            </a:extLst>
          </p:cNvPr>
          <p:cNvSpPr txBox="1"/>
          <p:nvPr/>
        </p:nvSpPr>
        <p:spPr>
          <a:xfrm>
            <a:off x="1510824" y="2554950"/>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2047880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A95D-436C-6A7B-E9AC-C68C0F5B8CCB}"/>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20E98C2D-F2DB-0384-4774-D45D951B2568}"/>
              </a:ext>
            </a:extLst>
          </p:cNvPr>
          <p:cNvSpPr>
            <a:spLocks noGrp="1"/>
          </p:cNvSpPr>
          <p:nvPr>
            <p:ph type="chart" sz="quarter" idx="21"/>
          </p:nvPr>
        </p:nvSpPr>
        <p:spPr>
          <a:xfrm>
            <a:off x="6633852" y="1740609"/>
            <a:ext cx="5130051" cy="4398971"/>
          </a:xfrm>
        </p:spPr>
        <p:txBody>
          <a:bodyPr/>
          <a:lstStyle/>
          <a:p>
            <a:r>
              <a:rPr lang="ar-SA" dirty="0"/>
              <a:t>داخل صفحة المبادرة يعرض النظام التالي.</a:t>
            </a:r>
          </a:p>
          <a:p>
            <a:pPr marL="342900" indent="-342900">
              <a:buFont typeface="+mj-lt"/>
              <a:buAutoNum type="arabicPeriod"/>
            </a:pPr>
            <a:r>
              <a:rPr lang="ar-SA" dirty="0"/>
              <a:t>تفاصيل المبادرة</a:t>
            </a:r>
          </a:p>
        </p:txBody>
      </p:sp>
      <p:sp>
        <p:nvSpPr>
          <p:cNvPr id="5" name="Slide Number Placeholder 4">
            <a:extLst>
              <a:ext uri="{FF2B5EF4-FFF2-40B4-BE49-F238E27FC236}">
                <a16:creationId xmlns:a16="http://schemas.microsoft.com/office/drawing/2014/main" id="{B3A8E4A9-770B-42F2-633A-E135BE54BF12}"/>
              </a:ext>
            </a:extLst>
          </p:cNvPr>
          <p:cNvSpPr>
            <a:spLocks noGrp="1"/>
          </p:cNvSpPr>
          <p:nvPr>
            <p:ph type="sldNum" sz="quarter" idx="4"/>
          </p:nvPr>
        </p:nvSpPr>
        <p:spPr/>
        <p:txBody>
          <a:bodyPr/>
          <a:lstStyle/>
          <a:p>
            <a:fld id="{E75C2C89-F887-4946-9289-77479B29E3CB}" type="slidenum">
              <a:rPr lang="en-US" smtClean="0"/>
              <a:pPr/>
              <a:t>21</a:t>
            </a:fld>
            <a:endParaRPr lang="en-US"/>
          </a:p>
        </p:txBody>
      </p:sp>
      <p:sp>
        <p:nvSpPr>
          <p:cNvPr id="7" name="Text Placeholder 6">
            <a:extLst>
              <a:ext uri="{FF2B5EF4-FFF2-40B4-BE49-F238E27FC236}">
                <a16:creationId xmlns:a16="http://schemas.microsoft.com/office/drawing/2014/main" id="{76E8904A-D4EC-3DC5-57B6-FA42564D4FFE}"/>
              </a:ext>
            </a:extLst>
          </p:cNvPr>
          <p:cNvSpPr>
            <a:spLocks noGrp="1"/>
          </p:cNvSpPr>
          <p:nvPr>
            <p:ph type="body" sz="quarter" idx="24"/>
          </p:nvPr>
        </p:nvSpPr>
        <p:spPr/>
        <p:txBody>
          <a:bodyPr/>
          <a:lstStyle/>
          <a:p>
            <a:r>
              <a:rPr lang="ar-SA" dirty="0"/>
              <a:t>مبادرة</a:t>
            </a:r>
            <a:endParaRPr lang="en-GB" dirty="0"/>
          </a:p>
        </p:txBody>
      </p:sp>
      <p:sp>
        <p:nvSpPr>
          <p:cNvPr id="8" name="Title 7">
            <a:extLst>
              <a:ext uri="{FF2B5EF4-FFF2-40B4-BE49-F238E27FC236}">
                <a16:creationId xmlns:a16="http://schemas.microsoft.com/office/drawing/2014/main" id="{57CC7394-DDB5-CE33-04B2-761EC79B2A7F}"/>
              </a:ext>
            </a:extLst>
          </p:cNvPr>
          <p:cNvSpPr>
            <a:spLocks noGrp="1"/>
          </p:cNvSpPr>
          <p:nvPr>
            <p:ph type="title"/>
          </p:nvPr>
        </p:nvSpPr>
        <p:spPr/>
        <p:txBody>
          <a:bodyPr/>
          <a:lstStyle/>
          <a:p>
            <a:r>
              <a:rPr lang="ar-SA" dirty="0"/>
              <a:t>المبادرات</a:t>
            </a:r>
            <a:endParaRPr lang="en-GB" dirty="0"/>
          </a:p>
        </p:txBody>
      </p:sp>
      <p:pic>
        <p:nvPicPr>
          <p:cNvPr id="4" name="Picture 3">
            <a:extLst>
              <a:ext uri="{FF2B5EF4-FFF2-40B4-BE49-F238E27FC236}">
                <a16:creationId xmlns:a16="http://schemas.microsoft.com/office/drawing/2014/main" id="{41A97475-B7F3-5F7C-31F9-DF29066527F4}"/>
              </a:ext>
            </a:extLst>
          </p:cNvPr>
          <p:cNvPicPr>
            <a:picLocks noChangeAspect="1"/>
          </p:cNvPicPr>
          <p:nvPr/>
        </p:nvPicPr>
        <p:blipFill>
          <a:blip r:embed="rId2"/>
          <a:stretch>
            <a:fillRect/>
          </a:stretch>
        </p:blipFill>
        <p:spPr>
          <a:xfrm>
            <a:off x="247705" y="1859608"/>
            <a:ext cx="8446506" cy="4279972"/>
          </a:xfrm>
          <a:prstGeom prst="rect">
            <a:avLst/>
          </a:prstGeom>
        </p:spPr>
      </p:pic>
      <p:sp>
        <p:nvSpPr>
          <p:cNvPr id="9" name="Free-form: Shape 8">
            <a:extLst>
              <a:ext uri="{FF2B5EF4-FFF2-40B4-BE49-F238E27FC236}">
                <a16:creationId xmlns:a16="http://schemas.microsoft.com/office/drawing/2014/main" id="{A6835A7C-9D5F-8CC4-DC90-5660FD6848DE}"/>
              </a:ext>
            </a:extLst>
          </p:cNvPr>
          <p:cNvSpPr/>
          <p:nvPr/>
        </p:nvSpPr>
        <p:spPr>
          <a:xfrm>
            <a:off x="247705" y="1856668"/>
            <a:ext cx="8446505" cy="4279972"/>
          </a:xfrm>
          <a:custGeom>
            <a:avLst/>
            <a:gdLst>
              <a:gd name="connsiteX0" fmla="*/ 6177467 w 8446505"/>
              <a:gd name="connsiteY0" fmla="*/ 443484 h 4279972"/>
              <a:gd name="connsiteX1" fmla="*/ 5733217 w 8446505"/>
              <a:gd name="connsiteY1" fmla="*/ 887734 h 4279972"/>
              <a:gd name="connsiteX2" fmla="*/ 5733217 w 8446505"/>
              <a:gd name="connsiteY2" fmla="*/ 3701776 h 4279972"/>
              <a:gd name="connsiteX3" fmla="*/ 6177467 w 8446505"/>
              <a:gd name="connsiteY3" fmla="*/ 4146026 h 4279972"/>
              <a:gd name="connsiteX4" fmla="*/ 7954412 w 8446505"/>
              <a:gd name="connsiteY4" fmla="*/ 4146026 h 4279972"/>
              <a:gd name="connsiteX5" fmla="*/ 8398662 w 8446505"/>
              <a:gd name="connsiteY5" fmla="*/ 3701776 h 4279972"/>
              <a:gd name="connsiteX6" fmla="*/ 8398662 w 8446505"/>
              <a:gd name="connsiteY6" fmla="*/ 887734 h 4279972"/>
              <a:gd name="connsiteX7" fmla="*/ 7954412 w 8446505"/>
              <a:gd name="connsiteY7" fmla="*/ 443484 h 4279972"/>
              <a:gd name="connsiteX8" fmla="*/ 0 w 8446505"/>
              <a:gd name="connsiteY8" fmla="*/ 0 h 4279972"/>
              <a:gd name="connsiteX9" fmla="*/ 8446505 w 8446505"/>
              <a:gd name="connsiteY9" fmla="*/ 0 h 4279972"/>
              <a:gd name="connsiteX10" fmla="*/ 8446505 w 8446505"/>
              <a:gd name="connsiteY10" fmla="*/ 4279972 h 4279972"/>
              <a:gd name="connsiteX11" fmla="*/ 0 w 8446505"/>
              <a:gd name="connsiteY11" fmla="*/ 4279972 h 427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46505" h="4279972">
                <a:moveTo>
                  <a:pt x="6177467" y="443484"/>
                </a:moveTo>
                <a:cubicBezTo>
                  <a:pt x="5932114" y="443484"/>
                  <a:pt x="5733217" y="642381"/>
                  <a:pt x="5733217" y="887734"/>
                </a:cubicBezTo>
                <a:lnTo>
                  <a:pt x="5733217" y="3701776"/>
                </a:lnTo>
                <a:cubicBezTo>
                  <a:pt x="5733217" y="3947129"/>
                  <a:pt x="5932114" y="4146026"/>
                  <a:pt x="6177467" y="4146026"/>
                </a:cubicBezTo>
                <a:lnTo>
                  <a:pt x="7954412" y="4146026"/>
                </a:lnTo>
                <a:cubicBezTo>
                  <a:pt x="8199765" y="4146026"/>
                  <a:pt x="8398662" y="3947129"/>
                  <a:pt x="8398662" y="3701776"/>
                </a:cubicBezTo>
                <a:lnTo>
                  <a:pt x="8398662" y="887734"/>
                </a:lnTo>
                <a:cubicBezTo>
                  <a:pt x="8398662" y="642381"/>
                  <a:pt x="8199765" y="443484"/>
                  <a:pt x="7954412" y="443484"/>
                </a:cubicBezTo>
                <a:close/>
                <a:moveTo>
                  <a:pt x="0" y="0"/>
                </a:moveTo>
                <a:lnTo>
                  <a:pt x="8446505" y="0"/>
                </a:lnTo>
                <a:lnTo>
                  <a:pt x="8446505" y="4279972"/>
                </a:lnTo>
                <a:lnTo>
                  <a:pt x="0" y="4279972"/>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TextBox 9">
            <a:extLst>
              <a:ext uri="{FF2B5EF4-FFF2-40B4-BE49-F238E27FC236}">
                <a16:creationId xmlns:a16="http://schemas.microsoft.com/office/drawing/2014/main" id="{8A7828A8-698F-804C-839C-7487137E8D18}"/>
              </a:ext>
            </a:extLst>
          </p:cNvPr>
          <p:cNvSpPr txBox="1"/>
          <p:nvPr/>
        </p:nvSpPr>
        <p:spPr>
          <a:xfrm>
            <a:off x="7274766" y="2046646"/>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Tree>
    <p:extLst>
      <p:ext uri="{BB962C8B-B14F-4D97-AF65-F5344CB8AC3E}">
        <p14:creationId xmlns:p14="http://schemas.microsoft.com/office/powerpoint/2010/main" val="3284396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D354A-9A38-F818-3062-3307DA2CF4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0BDF4F-925D-DF94-D4EA-C0CC4B0A19C7}"/>
              </a:ext>
            </a:extLst>
          </p:cNvPr>
          <p:cNvSpPr>
            <a:spLocks noGrp="1"/>
          </p:cNvSpPr>
          <p:nvPr>
            <p:ph type="title"/>
          </p:nvPr>
        </p:nvSpPr>
        <p:spPr/>
        <p:txBody>
          <a:bodyPr/>
          <a:lstStyle/>
          <a:p>
            <a:r>
              <a:rPr lang="ar-SA" dirty="0"/>
              <a:t>التقارير</a:t>
            </a:r>
            <a:endParaRPr lang="en-GB" dirty="0"/>
          </a:p>
        </p:txBody>
      </p:sp>
      <p:sp>
        <p:nvSpPr>
          <p:cNvPr id="3" name="Slide Number Placeholder 2">
            <a:extLst>
              <a:ext uri="{FF2B5EF4-FFF2-40B4-BE49-F238E27FC236}">
                <a16:creationId xmlns:a16="http://schemas.microsoft.com/office/drawing/2014/main" id="{CAFC8327-0503-249A-77D1-9A5F1E142D87}"/>
              </a:ext>
            </a:extLst>
          </p:cNvPr>
          <p:cNvSpPr>
            <a:spLocks noGrp="1"/>
          </p:cNvSpPr>
          <p:nvPr>
            <p:ph type="sldNum" sz="quarter" idx="4"/>
          </p:nvPr>
        </p:nvSpPr>
        <p:spPr/>
        <p:txBody>
          <a:bodyPr/>
          <a:lstStyle/>
          <a:p>
            <a:fld id="{E75C2C89-F887-4946-9289-77479B29E3CB}" type="slidenum">
              <a:rPr lang="en-US" smtClean="0"/>
              <a:pPr/>
              <a:t>22</a:t>
            </a:fld>
            <a:endParaRPr lang="en-US"/>
          </a:p>
        </p:txBody>
      </p:sp>
    </p:spTree>
    <p:extLst>
      <p:ext uri="{BB962C8B-B14F-4D97-AF65-F5344CB8AC3E}">
        <p14:creationId xmlns:p14="http://schemas.microsoft.com/office/powerpoint/2010/main" val="2777429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A3A72-E29F-6637-37DC-D489C26386EE}"/>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A2C2D685-54EB-B609-6A21-E05CE2A7523B}"/>
              </a:ext>
            </a:extLst>
          </p:cNvPr>
          <p:cNvSpPr>
            <a:spLocks noGrp="1"/>
          </p:cNvSpPr>
          <p:nvPr>
            <p:ph type="chart" sz="quarter" idx="21"/>
          </p:nvPr>
        </p:nvSpPr>
        <p:spPr>
          <a:xfrm>
            <a:off x="6666343" y="1675448"/>
            <a:ext cx="5130051" cy="4455725"/>
          </a:xfrm>
        </p:spPr>
        <p:txBody>
          <a:bodyPr/>
          <a:lstStyle/>
          <a:p>
            <a:r>
              <a:rPr lang="ar-SA" dirty="0"/>
              <a:t>صفحة التقارير تتيح للمستخدمين رؤية تقرير الأداء للبرنامج وتحميله لعرضه بشكل مرئي يسهل فهمه .</a:t>
            </a:r>
          </a:p>
          <a:p>
            <a:pPr marL="342900" indent="-342900">
              <a:buFont typeface="+mj-lt"/>
              <a:buAutoNum type="arabicPeriod"/>
            </a:pPr>
            <a:r>
              <a:rPr lang="ar-SA" dirty="0"/>
              <a:t>اختيار القطاع</a:t>
            </a:r>
          </a:p>
          <a:p>
            <a:pPr marL="342900" indent="-342900">
              <a:buFont typeface="+mj-lt"/>
              <a:buAutoNum type="arabicPeriod"/>
            </a:pPr>
            <a:r>
              <a:rPr lang="ar-SA" dirty="0"/>
              <a:t>اختيار السنة</a:t>
            </a:r>
          </a:p>
          <a:p>
            <a:pPr marL="342900" indent="-342900">
              <a:buFont typeface="+mj-lt"/>
              <a:buAutoNum type="arabicPeriod"/>
            </a:pPr>
            <a:r>
              <a:rPr lang="ar-SA" dirty="0"/>
              <a:t>اختيار الربع (لن يسمح لك باختيار </a:t>
            </a:r>
            <a:br>
              <a:rPr lang="en-US" dirty="0"/>
            </a:br>
            <a:r>
              <a:rPr lang="ar-SA" dirty="0"/>
              <a:t>الربع الا بعد اختيار السنة </a:t>
            </a:r>
          </a:p>
          <a:p>
            <a:r>
              <a:rPr lang="ar-SA" dirty="0"/>
              <a:t>– تظهر خيارات الربع اعتمادا على السنة </a:t>
            </a:r>
            <a:br>
              <a:rPr lang="en-US" dirty="0"/>
            </a:br>
            <a:r>
              <a:rPr lang="ar-SA" dirty="0"/>
              <a:t>المختارة "ان لم تكمل</a:t>
            </a:r>
          </a:p>
          <a:p>
            <a:r>
              <a:rPr lang="ar-SA" dirty="0"/>
              <a:t> السنة ربعها الأول لن يظهر أي خيار")</a:t>
            </a:r>
          </a:p>
          <a:p>
            <a:pPr marL="342900" indent="-342900">
              <a:buFont typeface="+mj-lt"/>
              <a:buAutoNum type="arabicPeriod" startAt="4"/>
            </a:pPr>
            <a:r>
              <a:rPr lang="ar-SA" dirty="0"/>
              <a:t>تحميل التقرير بصيغة</a:t>
            </a:r>
            <a:r>
              <a:rPr lang="en-AU" dirty="0"/>
              <a:t> PDF </a:t>
            </a:r>
            <a:endParaRPr lang="ar-SA" dirty="0"/>
          </a:p>
          <a:p>
            <a:pPr marL="342900" indent="-342900">
              <a:buFont typeface="+mj-lt"/>
              <a:buAutoNum type="arabicPeriod" startAt="4"/>
            </a:pPr>
            <a:r>
              <a:rPr lang="ar-SA" dirty="0"/>
              <a:t>تحميل التقرير بصيغة </a:t>
            </a:r>
            <a:r>
              <a:rPr lang="en-AU" dirty="0"/>
              <a:t>WORD</a:t>
            </a:r>
            <a:endParaRPr lang="ar-SA" dirty="0"/>
          </a:p>
          <a:p>
            <a:pPr marL="342900" indent="-342900">
              <a:buFont typeface="+mj-lt"/>
              <a:buAutoNum type="arabicPeriod" startAt="4"/>
            </a:pPr>
            <a:endParaRPr lang="ar-SA" dirty="0"/>
          </a:p>
          <a:p>
            <a:pPr marL="342900" indent="-342900">
              <a:buFont typeface="+mj-lt"/>
              <a:buAutoNum type="arabicPeriod" startAt="4"/>
            </a:pPr>
            <a:endParaRPr lang="en-US" dirty="0"/>
          </a:p>
        </p:txBody>
      </p:sp>
      <p:sp>
        <p:nvSpPr>
          <p:cNvPr id="5" name="Slide Number Placeholder 4">
            <a:extLst>
              <a:ext uri="{FF2B5EF4-FFF2-40B4-BE49-F238E27FC236}">
                <a16:creationId xmlns:a16="http://schemas.microsoft.com/office/drawing/2014/main" id="{352E6EF0-F3DA-E331-6798-2DE723CE1FBA}"/>
              </a:ext>
            </a:extLst>
          </p:cNvPr>
          <p:cNvSpPr>
            <a:spLocks noGrp="1"/>
          </p:cNvSpPr>
          <p:nvPr>
            <p:ph type="sldNum" sz="quarter" idx="4"/>
          </p:nvPr>
        </p:nvSpPr>
        <p:spPr/>
        <p:txBody>
          <a:bodyPr/>
          <a:lstStyle/>
          <a:p>
            <a:fld id="{E75C2C89-F887-4946-9289-77479B29E3CB}" type="slidenum">
              <a:rPr lang="en-US" smtClean="0"/>
              <a:pPr/>
              <a:t>23</a:t>
            </a:fld>
            <a:endParaRPr lang="en-US"/>
          </a:p>
        </p:txBody>
      </p:sp>
      <p:sp>
        <p:nvSpPr>
          <p:cNvPr id="8" name="Title 7">
            <a:extLst>
              <a:ext uri="{FF2B5EF4-FFF2-40B4-BE49-F238E27FC236}">
                <a16:creationId xmlns:a16="http://schemas.microsoft.com/office/drawing/2014/main" id="{101450AA-ED95-AC62-1E22-734DF49CCE27}"/>
              </a:ext>
            </a:extLst>
          </p:cNvPr>
          <p:cNvSpPr>
            <a:spLocks noGrp="1"/>
          </p:cNvSpPr>
          <p:nvPr>
            <p:ph type="title"/>
          </p:nvPr>
        </p:nvSpPr>
        <p:spPr/>
        <p:txBody>
          <a:bodyPr/>
          <a:lstStyle/>
          <a:p>
            <a:r>
              <a:rPr lang="ar-SA" dirty="0"/>
              <a:t>التقارير</a:t>
            </a:r>
            <a:endParaRPr lang="en-US" dirty="0"/>
          </a:p>
        </p:txBody>
      </p:sp>
      <p:pic>
        <p:nvPicPr>
          <p:cNvPr id="9" name="Picture 8">
            <a:extLst>
              <a:ext uri="{FF2B5EF4-FFF2-40B4-BE49-F238E27FC236}">
                <a16:creationId xmlns:a16="http://schemas.microsoft.com/office/drawing/2014/main" id="{40A491A1-7874-FB6B-FC63-2F79965FCD60}"/>
              </a:ext>
            </a:extLst>
          </p:cNvPr>
          <p:cNvPicPr>
            <a:picLocks noChangeAspect="1"/>
          </p:cNvPicPr>
          <p:nvPr/>
        </p:nvPicPr>
        <p:blipFill>
          <a:blip r:embed="rId2"/>
          <a:stretch>
            <a:fillRect/>
          </a:stretch>
        </p:blipFill>
        <p:spPr>
          <a:xfrm>
            <a:off x="534825" y="2166926"/>
            <a:ext cx="8182634" cy="4317270"/>
          </a:xfrm>
          <a:prstGeom prst="rect">
            <a:avLst/>
          </a:prstGeom>
        </p:spPr>
      </p:pic>
      <p:sp>
        <p:nvSpPr>
          <p:cNvPr id="32" name="Free-form: Shape 31">
            <a:extLst>
              <a:ext uri="{FF2B5EF4-FFF2-40B4-BE49-F238E27FC236}">
                <a16:creationId xmlns:a16="http://schemas.microsoft.com/office/drawing/2014/main" id="{DE92C1B0-FEA2-8D79-5055-9997A7C3FC04}"/>
              </a:ext>
            </a:extLst>
          </p:cNvPr>
          <p:cNvSpPr/>
          <p:nvPr/>
        </p:nvSpPr>
        <p:spPr>
          <a:xfrm>
            <a:off x="534825" y="2126560"/>
            <a:ext cx="8202091" cy="4357635"/>
          </a:xfrm>
          <a:custGeom>
            <a:avLst/>
            <a:gdLst>
              <a:gd name="connsiteX0" fmla="*/ 5387589 w 8202091"/>
              <a:gd name="connsiteY0" fmla="*/ 1336295 h 4357635"/>
              <a:gd name="connsiteX1" fmla="*/ 5362473 w 8202091"/>
              <a:gd name="connsiteY1" fmla="*/ 1361411 h 4357635"/>
              <a:gd name="connsiteX2" fmla="*/ 5362473 w 8202091"/>
              <a:gd name="connsiteY2" fmla="*/ 1461869 h 4357635"/>
              <a:gd name="connsiteX3" fmla="*/ 5387589 w 8202091"/>
              <a:gd name="connsiteY3" fmla="*/ 1486985 h 4357635"/>
              <a:gd name="connsiteX4" fmla="*/ 3060538 w 8202091"/>
              <a:gd name="connsiteY4" fmla="*/ 1486985 h 4357635"/>
              <a:gd name="connsiteX5" fmla="*/ 3023248 w 8202091"/>
              <a:gd name="connsiteY5" fmla="*/ 1524275 h 4357635"/>
              <a:gd name="connsiteX6" fmla="*/ 3023248 w 8202091"/>
              <a:gd name="connsiteY6" fmla="*/ 1673430 h 4357635"/>
              <a:gd name="connsiteX7" fmla="*/ 3060538 w 8202091"/>
              <a:gd name="connsiteY7" fmla="*/ 1710720 h 4357635"/>
              <a:gd name="connsiteX8" fmla="*/ 5667085 w 8202091"/>
              <a:gd name="connsiteY8" fmla="*/ 1710720 h 4357635"/>
              <a:gd name="connsiteX9" fmla="*/ 5704375 w 8202091"/>
              <a:gd name="connsiteY9" fmla="*/ 1673430 h 4357635"/>
              <a:gd name="connsiteX10" fmla="*/ 5704375 w 8202091"/>
              <a:gd name="connsiteY10" fmla="*/ 1524275 h 4357635"/>
              <a:gd name="connsiteX11" fmla="*/ 5667085 w 8202091"/>
              <a:gd name="connsiteY11" fmla="*/ 1486985 h 4357635"/>
              <a:gd name="connsiteX12" fmla="*/ 5648378 w 8202091"/>
              <a:gd name="connsiteY12" fmla="*/ 1486985 h 4357635"/>
              <a:gd name="connsiteX13" fmla="*/ 5673494 w 8202091"/>
              <a:gd name="connsiteY13" fmla="*/ 1461869 h 4357635"/>
              <a:gd name="connsiteX14" fmla="*/ 5673494 w 8202091"/>
              <a:gd name="connsiteY14" fmla="*/ 1361411 h 4357635"/>
              <a:gd name="connsiteX15" fmla="*/ 5648378 w 8202091"/>
              <a:gd name="connsiteY15" fmla="*/ 1336295 h 4357635"/>
              <a:gd name="connsiteX16" fmla="*/ 5412250 w 8202091"/>
              <a:gd name="connsiteY16" fmla="*/ 938701 h 4357635"/>
              <a:gd name="connsiteX17" fmla="*/ 5387134 w 8202091"/>
              <a:gd name="connsiteY17" fmla="*/ 963817 h 4357635"/>
              <a:gd name="connsiteX18" fmla="*/ 5387134 w 8202091"/>
              <a:gd name="connsiteY18" fmla="*/ 1064275 h 4357635"/>
              <a:gd name="connsiteX19" fmla="*/ 5390535 w 8202091"/>
              <a:gd name="connsiteY19" fmla="*/ 1072485 h 4357635"/>
              <a:gd name="connsiteX20" fmla="*/ 3060539 w 8202091"/>
              <a:gd name="connsiteY20" fmla="*/ 1072485 h 4357635"/>
              <a:gd name="connsiteX21" fmla="*/ 3023249 w 8202091"/>
              <a:gd name="connsiteY21" fmla="*/ 1109775 h 4357635"/>
              <a:gd name="connsiteX22" fmla="*/ 3023249 w 8202091"/>
              <a:gd name="connsiteY22" fmla="*/ 1258930 h 4357635"/>
              <a:gd name="connsiteX23" fmla="*/ 3060539 w 8202091"/>
              <a:gd name="connsiteY23" fmla="*/ 1296220 h 4357635"/>
              <a:gd name="connsiteX24" fmla="*/ 5667085 w 8202091"/>
              <a:gd name="connsiteY24" fmla="*/ 1296220 h 4357635"/>
              <a:gd name="connsiteX25" fmla="*/ 5704375 w 8202091"/>
              <a:gd name="connsiteY25" fmla="*/ 1258930 h 4357635"/>
              <a:gd name="connsiteX26" fmla="*/ 5704375 w 8202091"/>
              <a:gd name="connsiteY26" fmla="*/ 1109775 h 4357635"/>
              <a:gd name="connsiteX27" fmla="*/ 5693453 w 8202091"/>
              <a:gd name="connsiteY27" fmla="*/ 1083407 h 4357635"/>
              <a:gd name="connsiteX28" fmla="*/ 5690470 w 8202091"/>
              <a:gd name="connsiteY28" fmla="*/ 1082171 h 4357635"/>
              <a:gd name="connsiteX29" fmla="*/ 5690799 w 8202091"/>
              <a:gd name="connsiteY29" fmla="*/ 1082035 h 4357635"/>
              <a:gd name="connsiteX30" fmla="*/ 5698155 w 8202091"/>
              <a:gd name="connsiteY30" fmla="*/ 1064275 h 4357635"/>
              <a:gd name="connsiteX31" fmla="*/ 5698155 w 8202091"/>
              <a:gd name="connsiteY31" fmla="*/ 963817 h 4357635"/>
              <a:gd name="connsiteX32" fmla="*/ 5673039 w 8202091"/>
              <a:gd name="connsiteY32" fmla="*/ 938701 h 4357635"/>
              <a:gd name="connsiteX33" fmla="*/ 2681360 w 8202091"/>
              <a:gd name="connsiteY33" fmla="*/ 932482 h 4357635"/>
              <a:gd name="connsiteX34" fmla="*/ 2656245 w 8202091"/>
              <a:gd name="connsiteY34" fmla="*/ 957597 h 4357635"/>
              <a:gd name="connsiteX35" fmla="*/ 2656245 w 8202091"/>
              <a:gd name="connsiteY35" fmla="*/ 1058056 h 4357635"/>
              <a:gd name="connsiteX36" fmla="*/ 2663601 w 8202091"/>
              <a:gd name="connsiteY36" fmla="*/ 1075815 h 4357635"/>
              <a:gd name="connsiteX37" fmla="*/ 2680927 w 8202091"/>
              <a:gd name="connsiteY37" fmla="*/ 1082992 h 4357635"/>
              <a:gd name="connsiteX38" fmla="*/ 323428 w 8202091"/>
              <a:gd name="connsiteY38" fmla="*/ 1082992 h 4357635"/>
              <a:gd name="connsiteX39" fmla="*/ 286138 w 8202091"/>
              <a:gd name="connsiteY39" fmla="*/ 1120282 h 4357635"/>
              <a:gd name="connsiteX40" fmla="*/ 286138 w 8202091"/>
              <a:gd name="connsiteY40" fmla="*/ 1269437 h 4357635"/>
              <a:gd name="connsiteX41" fmla="*/ 323428 w 8202091"/>
              <a:gd name="connsiteY41" fmla="*/ 1306727 h 4357635"/>
              <a:gd name="connsiteX42" fmla="*/ 2929975 w 8202091"/>
              <a:gd name="connsiteY42" fmla="*/ 1306727 h 4357635"/>
              <a:gd name="connsiteX43" fmla="*/ 2967265 w 8202091"/>
              <a:gd name="connsiteY43" fmla="*/ 1269437 h 4357635"/>
              <a:gd name="connsiteX44" fmla="*/ 2967265 w 8202091"/>
              <a:gd name="connsiteY44" fmla="*/ 1120282 h 4357635"/>
              <a:gd name="connsiteX45" fmla="*/ 2956343 w 8202091"/>
              <a:gd name="connsiteY45" fmla="*/ 1093914 h 4357635"/>
              <a:gd name="connsiteX46" fmla="*/ 2930408 w 8202091"/>
              <a:gd name="connsiteY46" fmla="*/ 1083171 h 4357635"/>
              <a:gd name="connsiteX47" fmla="*/ 2942150 w 8202091"/>
              <a:gd name="connsiteY47" fmla="*/ 1083171 h 4357635"/>
              <a:gd name="connsiteX48" fmla="*/ 2967265 w 8202091"/>
              <a:gd name="connsiteY48" fmla="*/ 1058056 h 4357635"/>
              <a:gd name="connsiteX49" fmla="*/ 2967265 w 8202091"/>
              <a:gd name="connsiteY49" fmla="*/ 957597 h 4357635"/>
              <a:gd name="connsiteX50" fmla="*/ 2942150 w 8202091"/>
              <a:gd name="connsiteY50" fmla="*/ 932482 h 4357635"/>
              <a:gd name="connsiteX51" fmla="*/ 332720 w 8202091"/>
              <a:gd name="connsiteY51" fmla="*/ 629083 h 4357635"/>
              <a:gd name="connsiteX52" fmla="*/ 300420 w 8202091"/>
              <a:gd name="connsiteY52" fmla="*/ 661383 h 4357635"/>
              <a:gd name="connsiteX53" fmla="*/ 300420 w 8202091"/>
              <a:gd name="connsiteY53" fmla="*/ 790580 h 4357635"/>
              <a:gd name="connsiteX54" fmla="*/ 332720 w 8202091"/>
              <a:gd name="connsiteY54" fmla="*/ 822880 h 4357635"/>
              <a:gd name="connsiteX55" fmla="*/ 1081284 w 8202091"/>
              <a:gd name="connsiteY55" fmla="*/ 822880 h 4357635"/>
              <a:gd name="connsiteX56" fmla="*/ 1113584 w 8202091"/>
              <a:gd name="connsiteY56" fmla="*/ 790580 h 4357635"/>
              <a:gd name="connsiteX57" fmla="*/ 1113584 w 8202091"/>
              <a:gd name="connsiteY57" fmla="*/ 661383 h 4357635"/>
              <a:gd name="connsiteX58" fmla="*/ 1081284 w 8202091"/>
              <a:gd name="connsiteY58" fmla="*/ 629083 h 4357635"/>
              <a:gd name="connsiteX59" fmla="*/ 1150491 w 8202091"/>
              <a:gd name="connsiteY59" fmla="*/ 626873 h 4357635"/>
              <a:gd name="connsiteX60" fmla="*/ 1118191 w 8202091"/>
              <a:gd name="connsiteY60" fmla="*/ 659173 h 4357635"/>
              <a:gd name="connsiteX61" fmla="*/ 1118191 w 8202091"/>
              <a:gd name="connsiteY61" fmla="*/ 788370 h 4357635"/>
              <a:gd name="connsiteX62" fmla="*/ 1150491 w 8202091"/>
              <a:gd name="connsiteY62" fmla="*/ 820670 h 4357635"/>
              <a:gd name="connsiteX63" fmla="*/ 1846394 w 8202091"/>
              <a:gd name="connsiteY63" fmla="*/ 820670 h 4357635"/>
              <a:gd name="connsiteX64" fmla="*/ 1878694 w 8202091"/>
              <a:gd name="connsiteY64" fmla="*/ 788370 h 4357635"/>
              <a:gd name="connsiteX65" fmla="*/ 1878694 w 8202091"/>
              <a:gd name="connsiteY65" fmla="*/ 659173 h 4357635"/>
              <a:gd name="connsiteX66" fmla="*/ 1846394 w 8202091"/>
              <a:gd name="connsiteY66" fmla="*/ 626873 h 4357635"/>
              <a:gd name="connsiteX67" fmla="*/ 0 w 8202091"/>
              <a:gd name="connsiteY67" fmla="*/ 0 h 4357635"/>
              <a:gd name="connsiteX68" fmla="*/ 8202091 w 8202091"/>
              <a:gd name="connsiteY68" fmla="*/ 0 h 4357635"/>
              <a:gd name="connsiteX69" fmla="*/ 8202091 w 8202091"/>
              <a:gd name="connsiteY69" fmla="*/ 4357635 h 4357635"/>
              <a:gd name="connsiteX70" fmla="*/ 0 w 8202091"/>
              <a:gd name="connsiteY70" fmla="*/ 4357635 h 435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202091" h="4357635">
                <a:moveTo>
                  <a:pt x="5387589" y="1336295"/>
                </a:moveTo>
                <a:cubicBezTo>
                  <a:pt x="5373718" y="1336295"/>
                  <a:pt x="5362473" y="1347540"/>
                  <a:pt x="5362473" y="1361411"/>
                </a:cubicBezTo>
                <a:lnTo>
                  <a:pt x="5362473" y="1461869"/>
                </a:lnTo>
                <a:cubicBezTo>
                  <a:pt x="5362473" y="1475740"/>
                  <a:pt x="5373718" y="1486985"/>
                  <a:pt x="5387589" y="1486985"/>
                </a:cubicBezTo>
                <a:lnTo>
                  <a:pt x="3060538" y="1486985"/>
                </a:lnTo>
                <a:cubicBezTo>
                  <a:pt x="3039943" y="1486985"/>
                  <a:pt x="3023248" y="1503680"/>
                  <a:pt x="3023248" y="1524275"/>
                </a:cubicBezTo>
                <a:lnTo>
                  <a:pt x="3023248" y="1673430"/>
                </a:lnTo>
                <a:cubicBezTo>
                  <a:pt x="3023248" y="1694025"/>
                  <a:pt x="3039943" y="1710720"/>
                  <a:pt x="3060538" y="1710720"/>
                </a:cubicBezTo>
                <a:lnTo>
                  <a:pt x="5667085" y="1710720"/>
                </a:lnTo>
                <a:cubicBezTo>
                  <a:pt x="5687680" y="1710720"/>
                  <a:pt x="5704375" y="1694025"/>
                  <a:pt x="5704375" y="1673430"/>
                </a:cubicBezTo>
                <a:lnTo>
                  <a:pt x="5704375" y="1524275"/>
                </a:lnTo>
                <a:cubicBezTo>
                  <a:pt x="5704375" y="1503680"/>
                  <a:pt x="5687680" y="1486985"/>
                  <a:pt x="5667085" y="1486985"/>
                </a:cubicBezTo>
                <a:lnTo>
                  <a:pt x="5648378" y="1486985"/>
                </a:lnTo>
                <a:cubicBezTo>
                  <a:pt x="5662249" y="1486985"/>
                  <a:pt x="5673494" y="1475740"/>
                  <a:pt x="5673494" y="1461869"/>
                </a:cubicBezTo>
                <a:lnTo>
                  <a:pt x="5673494" y="1361411"/>
                </a:lnTo>
                <a:cubicBezTo>
                  <a:pt x="5673494" y="1347540"/>
                  <a:pt x="5662249" y="1336295"/>
                  <a:pt x="5648378" y="1336295"/>
                </a:cubicBezTo>
                <a:close/>
                <a:moveTo>
                  <a:pt x="5412250" y="938701"/>
                </a:moveTo>
                <a:cubicBezTo>
                  <a:pt x="5398379" y="938701"/>
                  <a:pt x="5387134" y="949946"/>
                  <a:pt x="5387134" y="963817"/>
                </a:cubicBezTo>
                <a:lnTo>
                  <a:pt x="5387134" y="1064275"/>
                </a:lnTo>
                <a:lnTo>
                  <a:pt x="5390535" y="1072485"/>
                </a:lnTo>
                <a:lnTo>
                  <a:pt x="3060539" y="1072485"/>
                </a:lnTo>
                <a:cubicBezTo>
                  <a:pt x="3039944" y="1072485"/>
                  <a:pt x="3023249" y="1089180"/>
                  <a:pt x="3023249" y="1109775"/>
                </a:cubicBezTo>
                <a:lnTo>
                  <a:pt x="3023249" y="1258930"/>
                </a:lnTo>
                <a:cubicBezTo>
                  <a:pt x="3023249" y="1279525"/>
                  <a:pt x="3039944" y="1296220"/>
                  <a:pt x="3060539" y="1296220"/>
                </a:cubicBezTo>
                <a:lnTo>
                  <a:pt x="5667085" y="1296220"/>
                </a:lnTo>
                <a:cubicBezTo>
                  <a:pt x="5687680" y="1296220"/>
                  <a:pt x="5704375" y="1279525"/>
                  <a:pt x="5704375" y="1258930"/>
                </a:cubicBezTo>
                <a:lnTo>
                  <a:pt x="5704375" y="1109775"/>
                </a:lnTo>
                <a:cubicBezTo>
                  <a:pt x="5704375" y="1099478"/>
                  <a:pt x="5700202" y="1090155"/>
                  <a:pt x="5693453" y="1083407"/>
                </a:cubicBezTo>
                <a:lnTo>
                  <a:pt x="5690470" y="1082171"/>
                </a:lnTo>
                <a:lnTo>
                  <a:pt x="5690799" y="1082035"/>
                </a:lnTo>
                <a:cubicBezTo>
                  <a:pt x="5695344" y="1077490"/>
                  <a:pt x="5698155" y="1071211"/>
                  <a:pt x="5698155" y="1064275"/>
                </a:cubicBezTo>
                <a:lnTo>
                  <a:pt x="5698155" y="963817"/>
                </a:lnTo>
                <a:cubicBezTo>
                  <a:pt x="5698155" y="949946"/>
                  <a:pt x="5686910" y="938701"/>
                  <a:pt x="5673039" y="938701"/>
                </a:cubicBezTo>
                <a:close/>
                <a:moveTo>
                  <a:pt x="2681360" y="932482"/>
                </a:moveTo>
                <a:cubicBezTo>
                  <a:pt x="2667488" y="932482"/>
                  <a:pt x="2656245" y="943726"/>
                  <a:pt x="2656245" y="957597"/>
                </a:cubicBezTo>
                <a:lnTo>
                  <a:pt x="2656245" y="1058056"/>
                </a:lnTo>
                <a:cubicBezTo>
                  <a:pt x="2656245" y="1064992"/>
                  <a:pt x="2659055" y="1071270"/>
                  <a:pt x="2663601" y="1075815"/>
                </a:cubicBezTo>
                <a:lnTo>
                  <a:pt x="2680927" y="1082992"/>
                </a:lnTo>
                <a:lnTo>
                  <a:pt x="323428" y="1082992"/>
                </a:lnTo>
                <a:cubicBezTo>
                  <a:pt x="302833" y="1082992"/>
                  <a:pt x="286138" y="1099687"/>
                  <a:pt x="286138" y="1120282"/>
                </a:cubicBezTo>
                <a:lnTo>
                  <a:pt x="286138" y="1269437"/>
                </a:lnTo>
                <a:cubicBezTo>
                  <a:pt x="286138" y="1290032"/>
                  <a:pt x="302833" y="1306727"/>
                  <a:pt x="323428" y="1306727"/>
                </a:cubicBezTo>
                <a:lnTo>
                  <a:pt x="2929975" y="1306727"/>
                </a:lnTo>
                <a:cubicBezTo>
                  <a:pt x="2950570" y="1306727"/>
                  <a:pt x="2967265" y="1290032"/>
                  <a:pt x="2967265" y="1269437"/>
                </a:cubicBezTo>
                <a:lnTo>
                  <a:pt x="2967265" y="1120282"/>
                </a:lnTo>
                <a:cubicBezTo>
                  <a:pt x="2967265" y="1109985"/>
                  <a:pt x="2963092" y="1100662"/>
                  <a:pt x="2956343" y="1093914"/>
                </a:cubicBezTo>
                <a:lnTo>
                  <a:pt x="2930408" y="1083171"/>
                </a:lnTo>
                <a:lnTo>
                  <a:pt x="2942150" y="1083171"/>
                </a:lnTo>
                <a:cubicBezTo>
                  <a:pt x="2956022" y="1083171"/>
                  <a:pt x="2967265" y="1071927"/>
                  <a:pt x="2967265" y="1058056"/>
                </a:cubicBezTo>
                <a:lnTo>
                  <a:pt x="2967265" y="957597"/>
                </a:lnTo>
                <a:cubicBezTo>
                  <a:pt x="2967265" y="943726"/>
                  <a:pt x="2956022" y="932482"/>
                  <a:pt x="2942150" y="932482"/>
                </a:cubicBezTo>
                <a:close/>
                <a:moveTo>
                  <a:pt x="332720" y="629083"/>
                </a:moveTo>
                <a:cubicBezTo>
                  <a:pt x="314881" y="629083"/>
                  <a:pt x="300420" y="643544"/>
                  <a:pt x="300420" y="661383"/>
                </a:cubicBezTo>
                <a:lnTo>
                  <a:pt x="300420" y="790580"/>
                </a:lnTo>
                <a:cubicBezTo>
                  <a:pt x="300420" y="808419"/>
                  <a:pt x="314881" y="822880"/>
                  <a:pt x="332720" y="822880"/>
                </a:cubicBezTo>
                <a:lnTo>
                  <a:pt x="1081284" y="822880"/>
                </a:lnTo>
                <a:cubicBezTo>
                  <a:pt x="1099123" y="822880"/>
                  <a:pt x="1113584" y="808419"/>
                  <a:pt x="1113584" y="790580"/>
                </a:cubicBezTo>
                <a:lnTo>
                  <a:pt x="1113584" y="661383"/>
                </a:lnTo>
                <a:cubicBezTo>
                  <a:pt x="1113584" y="643544"/>
                  <a:pt x="1099123" y="629083"/>
                  <a:pt x="1081284" y="629083"/>
                </a:cubicBezTo>
                <a:close/>
                <a:moveTo>
                  <a:pt x="1150491" y="626873"/>
                </a:moveTo>
                <a:cubicBezTo>
                  <a:pt x="1132652" y="626873"/>
                  <a:pt x="1118191" y="641334"/>
                  <a:pt x="1118191" y="659173"/>
                </a:cubicBezTo>
                <a:lnTo>
                  <a:pt x="1118191" y="788370"/>
                </a:lnTo>
                <a:cubicBezTo>
                  <a:pt x="1118191" y="806209"/>
                  <a:pt x="1132652" y="820670"/>
                  <a:pt x="1150491" y="820670"/>
                </a:cubicBezTo>
                <a:lnTo>
                  <a:pt x="1846394" y="820670"/>
                </a:lnTo>
                <a:cubicBezTo>
                  <a:pt x="1864232" y="820670"/>
                  <a:pt x="1878694" y="806209"/>
                  <a:pt x="1878694" y="788370"/>
                </a:cubicBezTo>
                <a:lnTo>
                  <a:pt x="1878694" y="659173"/>
                </a:lnTo>
                <a:cubicBezTo>
                  <a:pt x="1878694" y="641334"/>
                  <a:pt x="1864232" y="626873"/>
                  <a:pt x="1846394" y="626873"/>
                </a:cubicBezTo>
                <a:close/>
                <a:moveTo>
                  <a:pt x="0" y="0"/>
                </a:moveTo>
                <a:lnTo>
                  <a:pt x="8202091" y="0"/>
                </a:lnTo>
                <a:lnTo>
                  <a:pt x="8202091" y="4357635"/>
                </a:lnTo>
                <a:lnTo>
                  <a:pt x="0" y="4357635"/>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TextBox 25">
            <a:extLst>
              <a:ext uri="{FF2B5EF4-FFF2-40B4-BE49-F238E27FC236}">
                <a16:creationId xmlns:a16="http://schemas.microsoft.com/office/drawing/2014/main" id="{14ECE087-F25C-4407-5E79-8D8286740861}"/>
              </a:ext>
            </a:extLst>
          </p:cNvPr>
          <p:cNvSpPr txBox="1"/>
          <p:nvPr/>
        </p:nvSpPr>
        <p:spPr>
          <a:xfrm>
            <a:off x="5525658" y="2954826"/>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27" name="TextBox 26">
            <a:extLst>
              <a:ext uri="{FF2B5EF4-FFF2-40B4-BE49-F238E27FC236}">
                <a16:creationId xmlns:a16="http://schemas.microsoft.com/office/drawing/2014/main" id="{146475B3-67EE-565D-6A5E-3088AAA5B50D}"/>
              </a:ext>
            </a:extLst>
          </p:cNvPr>
          <p:cNvSpPr txBox="1"/>
          <p:nvPr/>
        </p:nvSpPr>
        <p:spPr>
          <a:xfrm>
            <a:off x="2817807" y="2954826"/>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28" name="TextBox 27">
            <a:extLst>
              <a:ext uri="{FF2B5EF4-FFF2-40B4-BE49-F238E27FC236}">
                <a16:creationId xmlns:a16="http://schemas.microsoft.com/office/drawing/2014/main" id="{DACD00C2-C9CB-F567-443A-08481325357F}"/>
              </a:ext>
            </a:extLst>
          </p:cNvPr>
          <p:cNvSpPr txBox="1"/>
          <p:nvPr/>
        </p:nvSpPr>
        <p:spPr>
          <a:xfrm>
            <a:off x="5621375" y="3385213"/>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
        <p:nvSpPr>
          <p:cNvPr id="33" name="TextBox 32">
            <a:extLst>
              <a:ext uri="{FF2B5EF4-FFF2-40B4-BE49-F238E27FC236}">
                <a16:creationId xmlns:a16="http://schemas.microsoft.com/office/drawing/2014/main" id="{108C0118-A988-C340-63FF-19A5F022063A}"/>
              </a:ext>
            </a:extLst>
          </p:cNvPr>
          <p:cNvSpPr txBox="1"/>
          <p:nvPr/>
        </p:nvSpPr>
        <p:spPr>
          <a:xfrm>
            <a:off x="1973106" y="2486364"/>
            <a:ext cx="129235" cy="280751"/>
          </a:xfrm>
          <a:prstGeom prst="rect">
            <a:avLst/>
          </a:prstGeom>
        </p:spPr>
        <p:txBody>
          <a:bodyPr vert="horz" wrap="none" lIns="0" tIns="0" rIns="0" bIns="0" rtlCol="0" anchor="t">
            <a:noAutofit/>
          </a:bodyPr>
          <a:lstStyle/>
          <a:p>
            <a:pPr algn="l"/>
            <a:r>
              <a:rPr lang="ar-SA" sz="2000" b="1" dirty="0">
                <a:solidFill>
                  <a:schemeClr val="bg1"/>
                </a:solidFill>
              </a:rPr>
              <a:t>4</a:t>
            </a:r>
            <a:endParaRPr lang="en-US" sz="2000" b="1" dirty="0">
              <a:solidFill>
                <a:schemeClr val="bg1"/>
              </a:solidFill>
            </a:endParaRPr>
          </a:p>
        </p:txBody>
      </p:sp>
      <p:sp>
        <p:nvSpPr>
          <p:cNvPr id="34" name="TextBox 33">
            <a:extLst>
              <a:ext uri="{FF2B5EF4-FFF2-40B4-BE49-F238E27FC236}">
                <a16:creationId xmlns:a16="http://schemas.microsoft.com/office/drawing/2014/main" id="{F6242406-766D-43E4-B652-AF4A3AF8C85D}"/>
              </a:ext>
            </a:extLst>
          </p:cNvPr>
          <p:cNvSpPr txBox="1"/>
          <p:nvPr/>
        </p:nvSpPr>
        <p:spPr>
          <a:xfrm>
            <a:off x="1189348" y="2482521"/>
            <a:ext cx="129235" cy="280751"/>
          </a:xfrm>
          <a:prstGeom prst="rect">
            <a:avLst/>
          </a:prstGeom>
        </p:spPr>
        <p:txBody>
          <a:bodyPr vert="horz" wrap="none" lIns="0" tIns="0" rIns="0" bIns="0" rtlCol="0" anchor="t">
            <a:noAutofit/>
          </a:bodyPr>
          <a:lstStyle/>
          <a:p>
            <a:pPr algn="l"/>
            <a:r>
              <a:rPr lang="ar-SA" sz="2000" b="1" dirty="0">
                <a:solidFill>
                  <a:schemeClr val="bg1"/>
                </a:solidFill>
              </a:rPr>
              <a:t>5</a:t>
            </a:r>
            <a:endParaRPr lang="en-US" sz="2000" b="1" dirty="0">
              <a:solidFill>
                <a:schemeClr val="bg1"/>
              </a:solidFill>
            </a:endParaRPr>
          </a:p>
        </p:txBody>
      </p:sp>
      <p:sp>
        <p:nvSpPr>
          <p:cNvPr id="6" name="Text Placeholder 6">
            <a:extLst>
              <a:ext uri="{FF2B5EF4-FFF2-40B4-BE49-F238E27FC236}">
                <a16:creationId xmlns:a16="http://schemas.microsoft.com/office/drawing/2014/main" id="{B255A556-57CB-8FA6-2F58-06B6C6F6CFF4}"/>
              </a:ext>
            </a:extLst>
          </p:cNvPr>
          <p:cNvSpPr txBox="1">
            <a:spLocks/>
          </p:cNvSpPr>
          <p:nvPr/>
        </p:nvSpPr>
        <p:spPr>
          <a:xfrm>
            <a:off x="534825" y="621101"/>
            <a:ext cx="10936449" cy="757255"/>
          </a:xfrm>
          <a:prstGeom prst="rect">
            <a:avLst/>
          </a:prstGeom>
        </p:spPr>
        <p:txBody>
          <a:bodyPr vert="horz" lIns="0" tIns="0" rIns="0" bIns="0" rtlCol="0">
            <a:noAutofit/>
          </a:bodyPr>
          <a:lstStyle>
            <a:lvl1pPr marL="0" indent="0" algn="r" defTabSz="914400" rtl="1" eaLnBrk="1" latinLnBrk="0" hangingPunct="1">
              <a:lnSpc>
                <a:spcPct val="90000"/>
              </a:lnSpc>
              <a:spcBef>
                <a:spcPts val="1000"/>
              </a:spcBef>
              <a:buFont typeface="Arial" panose="020B0604020202020204" pitchFamily="34" charset="0"/>
              <a:buNone/>
              <a:defRPr sz="2400" b="0" i="0" kern="1200">
                <a:solidFill>
                  <a:schemeClr val="accent2"/>
                </a:solidFill>
                <a:latin typeface="+mn-lt"/>
                <a:ea typeface="+mn-ea"/>
                <a:cs typeface="+mn-cs"/>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mn-lt"/>
                <a:ea typeface="+mn-ea"/>
                <a:cs typeface="+mn-cs"/>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mn-lt"/>
                <a:ea typeface="+mn-ea"/>
                <a:cs typeface="+mn-cs"/>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mn-lt"/>
                <a:ea typeface="+mn-ea"/>
                <a:cs typeface="+mn-cs"/>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نظرة عامة</a:t>
            </a:r>
            <a:endParaRPr lang="en-US" dirty="0"/>
          </a:p>
        </p:txBody>
      </p:sp>
    </p:spTree>
    <p:extLst>
      <p:ext uri="{BB962C8B-B14F-4D97-AF65-F5344CB8AC3E}">
        <p14:creationId xmlns:p14="http://schemas.microsoft.com/office/powerpoint/2010/main" val="843905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F4BB6-CCA0-DEA3-7121-CD2C7F4F5B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083859-7D72-FFA7-0E7A-E0C4946967FE}"/>
              </a:ext>
            </a:extLst>
          </p:cNvPr>
          <p:cNvSpPr>
            <a:spLocks noGrp="1"/>
          </p:cNvSpPr>
          <p:nvPr>
            <p:ph type="title"/>
          </p:nvPr>
        </p:nvSpPr>
        <p:spPr/>
        <p:txBody>
          <a:bodyPr/>
          <a:lstStyle/>
          <a:p>
            <a:r>
              <a:rPr lang="ar-SA" dirty="0"/>
              <a:t>لوحة أداء</a:t>
            </a:r>
            <a:endParaRPr lang="en-GB" dirty="0"/>
          </a:p>
        </p:txBody>
      </p:sp>
      <p:sp>
        <p:nvSpPr>
          <p:cNvPr id="3" name="Slide Number Placeholder 2">
            <a:extLst>
              <a:ext uri="{FF2B5EF4-FFF2-40B4-BE49-F238E27FC236}">
                <a16:creationId xmlns:a16="http://schemas.microsoft.com/office/drawing/2014/main" id="{D93E2342-1833-9C81-B87B-5451787A3BD7}"/>
              </a:ext>
            </a:extLst>
          </p:cNvPr>
          <p:cNvSpPr>
            <a:spLocks noGrp="1"/>
          </p:cNvSpPr>
          <p:nvPr>
            <p:ph type="sldNum" sz="quarter" idx="4"/>
          </p:nvPr>
        </p:nvSpPr>
        <p:spPr/>
        <p:txBody>
          <a:bodyPr/>
          <a:lstStyle/>
          <a:p>
            <a:fld id="{E75C2C89-F887-4946-9289-77479B29E3CB}" type="slidenum">
              <a:rPr lang="en-US" smtClean="0"/>
              <a:pPr/>
              <a:t>24</a:t>
            </a:fld>
            <a:endParaRPr lang="en-US"/>
          </a:p>
        </p:txBody>
      </p:sp>
    </p:spTree>
    <p:extLst>
      <p:ext uri="{BB962C8B-B14F-4D97-AF65-F5344CB8AC3E}">
        <p14:creationId xmlns:p14="http://schemas.microsoft.com/office/powerpoint/2010/main" val="25762111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9FD3B-4DF9-EC82-3FDE-9E98288DCA2A}"/>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F2718478-3BEA-859B-5FBB-562F4BAC3860}"/>
              </a:ext>
            </a:extLst>
          </p:cNvPr>
          <p:cNvSpPr>
            <a:spLocks noGrp="1"/>
          </p:cNvSpPr>
          <p:nvPr>
            <p:ph type="chart" sz="quarter" idx="21"/>
          </p:nvPr>
        </p:nvSpPr>
        <p:spPr>
          <a:xfrm>
            <a:off x="6737463" y="1685608"/>
            <a:ext cx="5130051" cy="4455725"/>
          </a:xfrm>
        </p:spPr>
        <p:txBody>
          <a:bodyPr/>
          <a:lstStyle/>
          <a:p>
            <a:r>
              <a:rPr lang="ar-SA" dirty="0"/>
              <a:t>لوحة الأداء هي أداة تفاعلية تتيح للمستخدمين متابعة ومراقبة الأداء العام لمؤشرات الأداء الرئيسية و تعمل اللوحة على جمع</a:t>
            </a:r>
            <a:br>
              <a:rPr lang="en-US" dirty="0"/>
            </a:br>
            <a:r>
              <a:rPr lang="ar-SA" dirty="0"/>
              <a:t> البيانات وعرضها بشكل مرئي يسهل فهمه .</a:t>
            </a:r>
            <a:br>
              <a:rPr lang="en-US" dirty="0"/>
            </a:br>
            <a:endParaRPr lang="ar-SA" dirty="0"/>
          </a:p>
          <a:p>
            <a:pPr marL="342900" indent="-342900">
              <a:buFont typeface="+mj-lt"/>
              <a:buAutoNum type="arabicPeriod"/>
            </a:pPr>
            <a:r>
              <a:rPr lang="ar-SA" dirty="0"/>
              <a:t>لوحة أداء</a:t>
            </a:r>
          </a:p>
          <a:p>
            <a:pPr marL="342900" indent="-342900">
              <a:buFont typeface="+mj-lt"/>
              <a:buAutoNum type="arabicPeriod"/>
            </a:pPr>
            <a:r>
              <a:rPr lang="ar-SA" dirty="0"/>
              <a:t>الأداء الاستراتيجي لبرنامج تطوير وزارة </a:t>
            </a:r>
            <a:br>
              <a:rPr lang="en-US" dirty="0"/>
            </a:br>
            <a:r>
              <a:rPr lang="ar-SA" dirty="0"/>
              <a:t>الحرس الوطني ( استراتيجي )</a:t>
            </a:r>
          </a:p>
          <a:p>
            <a:pPr marL="342900" indent="-342900">
              <a:buFont typeface="+mj-lt"/>
              <a:buAutoNum type="arabicPeriod"/>
            </a:pPr>
            <a:r>
              <a:rPr lang="ar-SA" dirty="0"/>
              <a:t>الأداء الاستراتيجي لوزارة الحرس</a:t>
            </a:r>
            <a:br>
              <a:rPr lang="en-US" dirty="0"/>
            </a:br>
            <a:r>
              <a:rPr lang="ar-SA" dirty="0"/>
              <a:t> الوطني ( استراتيجي )</a:t>
            </a:r>
          </a:p>
          <a:p>
            <a:pPr marL="342900" indent="-342900">
              <a:buFont typeface="+mj-lt"/>
              <a:buAutoNum type="arabicPeriod"/>
            </a:pPr>
            <a:r>
              <a:rPr lang="ar-SA" dirty="0"/>
              <a:t>الأداء التشغيلي لبرنامج تطوير وزارة الحرس</a:t>
            </a:r>
            <a:br>
              <a:rPr lang="en-US" dirty="0"/>
            </a:br>
            <a:r>
              <a:rPr lang="ar-SA" dirty="0"/>
              <a:t> الوطني ( تشغيلي )</a:t>
            </a:r>
          </a:p>
          <a:p>
            <a:pPr marL="342900" indent="-342900">
              <a:buFont typeface="+mj-lt"/>
              <a:buAutoNum type="arabicPeriod"/>
            </a:pPr>
            <a:r>
              <a:rPr lang="ar-SA" dirty="0"/>
              <a:t>الأداء التشغيلي لوزارة الحرس</a:t>
            </a:r>
            <a:br>
              <a:rPr lang="en-US" dirty="0"/>
            </a:br>
            <a:r>
              <a:rPr lang="ar-SA" dirty="0"/>
              <a:t> الوطني ( تشغيلي )</a:t>
            </a:r>
          </a:p>
          <a:p>
            <a:pPr marL="342900" indent="-342900">
              <a:buFont typeface="+mj-lt"/>
              <a:buAutoNum type="arabicPeriod"/>
            </a:pPr>
            <a:r>
              <a:rPr lang="ar-SA" dirty="0"/>
              <a:t>إحصائية المؤشرات لوزارة الحرس الوطني</a:t>
            </a:r>
          </a:p>
          <a:p>
            <a:pPr marL="342900" indent="-342900">
              <a:buFont typeface="+mj-lt"/>
              <a:buAutoNum type="arabicPeriod"/>
            </a:pPr>
            <a:endParaRPr lang="ar-SA"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1D3D06E8-7CF7-4CD9-7E41-67D1A7EDF5A7}"/>
              </a:ext>
            </a:extLst>
          </p:cNvPr>
          <p:cNvSpPr>
            <a:spLocks noGrp="1"/>
          </p:cNvSpPr>
          <p:nvPr>
            <p:ph type="sldNum" sz="quarter" idx="4"/>
          </p:nvPr>
        </p:nvSpPr>
        <p:spPr/>
        <p:txBody>
          <a:bodyPr/>
          <a:lstStyle/>
          <a:p>
            <a:fld id="{E75C2C89-F887-4946-9289-77479B29E3CB}" type="slidenum">
              <a:rPr lang="en-US" smtClean="0"/>
              <a:pPr/>
              <a:t>25</a:t>
            </a:fld>
            <a:endParaRPr lang="en-US"/>
          </a:p>
        </p:txBody>
      </p:sp>
      <p:sp>
        <p:nvSpPr>
          <p:cNvPr id="8" name="Title 7">
            <a:extLst>
              <a:ext uri="{FF2B5EF4-FFF2-40B4-BE49-F238E27FC236}">
                <a16:creationId xmlns:a16="http://schemas.microsoft.com/office/drawing/2014/main" id="{E3CE584E-7BD5-1681-3357-05E03AD3D41B}"/>
              </a:ext>
            </a:extLst>
          </p:cNvPr>
          <p:cNvSpPr>
            <a:spLocks noGrp="1"/>
          </p:cNvSpPr>
          <p:nvPr>
            <p:ph type="title"/>
          </p:nvPr>
        </p:nvSpPr>
        <p:spPr/>
        <p:txBody>
          <a:bodyPr/>
          <a:lstStyle/>
          <a:p>
            <a:r>
              <a:rPr lang="ar-SA" dirty="0"/>
              <a:t>لوحة أداء</a:t>
            </a:r>
            <a:endParaRPr lang="en-US" dirty="0"/>
          </a:p>
        </p:txBody>
      </p:sp>
      <p:pic>
        <p:nvPicPr>
          <p:cNvPr id="4" name="Picture 3">
            <a:extLst>
              <a:ext uri="{FF2B5EF4-FFF2-40B4-BE49-F238E27FC236}">
                <a16:creationId xmlns:a16="http://schemas.microsoft.com/office/drawing/2014/main" id="{0D74F0E4-EE6B-61B8-C538-051B664EE361}"/>
              </a:ext>
            </a:extLst>
          </p:cNvPr>
          <p:cNvPicPr>
            <a:picLocks noChangeAspect="1"/>
          </p:cNvPicPr>
          <p:nvPr/>
        </p:nvPicPr>
        <p:blipFill>
          <a:blip r:embed="rId2"/>
          <a:stretch>
            <a:fillRect/>
          </a:stretch>
        </p:blipFill>
        <p:spPr>
          <a:xfrm>
            <a:off x="406954" y="2050361"/>
            <a:ext cx="8147766" cy="4301704"/>
          </a:xfrm>
          <a:prstGeom prst="rect">
            <a:avLst/>
          </a:prstGeom>
        </p:spPr>
      </p:pic>
      <p:sp>
        <p:nvSpPr>
          <p:cNvPr id="16" name="Free-form: Shape 15">
            <a:extLst>
              <a:ext uri="{FF2B5EF4-FFF2-40B4-BE49-F238E27FC236}">
                <a16:creationId xmlns:a16="http://schemas.microsoft.com/office/drawing/2014/main" id="{6A0F3624-3535-2E0E-48A2-D81F4691ED80}"/>
              </a:ext>
            </a:extLst>
          </p:cNvPr>
          <p:cNvSpPr/>
          <p:nvPr/>
        </p:nvSpPr>
        <p:spPr>
          <a:xfrm>
            <a:off x="406957" y="2056580"/>
            <a:ext cx="8147765" cy="4301704"/>
          </a:xfrm>
          <a:custGeom>
            <a:avLst/>
            <a:gdLst>
              <a:gd name="connsiteX0" fmla="*/ 5396405 w 8147765"/>
              <a:gd name="connsiteY0" fmla="*/ 2819743 h 4301704"/>
              <a:gd name="connsiteX1" fmla="*/ 5368313 w 8147765"/>
              <a:gd name="connsiteY1" fmla="*/ 2847835 h 4301704"/>
              <a:gd name="connsiteX2" fmla="*/ 5368313 w 8147765"/>
              <a:gd name="connsiteY2" fmla="*/ 2960200 h 4301704"/>
              <a:gd name="connsiteX3" fmla="*/ 5396405 w 8147765"/>
              <a:gd name="connsiteY3" fmla="*/ 2988292 h 4301704"/>
              <a:gd name="connsiteX4" fmla="*/ 7661857 w 8147765"/>
              <a:gd name="connsiteY4" fmla="*/ 2988292 h 4301704"/>
              <a:gd name="connsiteX5" fmla="*/ 7689949 w 8147765"/>
              <a:gd name="connsiteY5" fmla="*/ 2960200 h 4301704"/>
              <a:gd name="connsiteX6" fmla="*/ 7689949 w 8147765"/>
              <a:gd name="connsiteY6" fmla="*/ 2847835 h 4301704"/>
              <a:gd name="connsiteX7" fmla="*/ 7661857 w 8147765"/>
              <a:gd name="connsiteY7" fmla="*/ 2819743 h 4301704"/>
              <a:gd name="connsiteX8" fmla="*/ 5392628 w 8147765"/>
              <a:gd name="connsiteY8" fmla="*/ 2630103 h 4301704"/>
              <a:gd name="connsiteX9" fmla="*/ 5364536 w 8147765"/>
              <a:gd name="connsiteY9" fmla="*/ 2658195 h 4301704"/>
              <a:gd name="connsiteX10" fmla="*/ 5364536 w 8147765"/>
              <a:gd name="connsiteY10" fmla="*/ 2770560 h 4301704"/>
              <a:gd name="connsiteX11" fmla="*/ 5392628 w 8147765"/>
              <a:gd name="connsiteY11" fmla="*/ 2798652 h 4301704"/>
              <a:gd name="connsiteX12" fmla="*/ 7658080 w 8147765"/>
              <a:gd name="connsiteY12" fmla="*/ 2798652 h 4301704"/>
              <a:gd name="connsiteX13" fmla="*/ 7686172 w 8147765"/>
              <a:gd name="connsiteY13" fmla="*/ 2770560 h 4301704"/>
              <a:gd name="connsiteX14" fmla="*/ 7686172 w 8147765"/>
              <a:gd name="connsiteY14" fmla="*/ 2658195 h 4301704"/>
              <a:gd name="connsiteX15" fmla="*/ 7658080 w 8147765"/>
              <a:gd name="connsiteY15" fmla="*/ 2630103 h 4301704"/>
              <a:gd name="connsiteX16" fmla="*/ 5396405 w 8147765"/>
              <a:gd name="connsiteY16" fmla="*/ 2440463 h 4301704"/>
              <a:gd name="connsiteX17" fmla="*/ 5368313 w 8147765"/>
              <a:gd name="connsiteY17" fmla="*/ 2468555 h 4301704"/>
              <a:gd name="connsiteX18" fmla="*/ 5368313 w 8147765"/>
              <a:gd name="connsiteY18" fmla="*/ 2580920 h 4301704"/>
              <a:gd name="connsiteX19" fmla="*/ 5396405 w 8147765"/>
              <a:gd name="connsiteY19" fmla="*/ 2609012 h 4301704"/>
              <a:gd name="connsiteX20" fmla="*/ 7661857 w 8147765"/>
              <a:gd name="connsiteY20" fmla="*/ 2609012 h 4301704"/>
              <a:gd name="connsiteX21" fmla="*/ 7689949 w 8147765"/>
              <a:gd name="connsiteY21" fmla="*/ 2580920 h 4301704"/>
              <a:gd name="connsiteX22" fmla="*/ 7689949 w 8147765"/>
              <a:gd name="connsiteY22" fmla="*/ 2468555 h 4301704"/>
              <a:gd name="connsiteX23" fmla="*/ 7661857 w 8147765"/>
              <a:gd name="connsiteY23" fmla="*/ 2440463 h 4301704"/>
              <a:gd name="connsiteX24" fmla="*/ 5396405 w 8147765"/>
              <a:gd name="connsiteY24" fmla="*/ 2244150 h 4301704"/>
              <a:gd name="connsiteX25" fmla="*/ 5368313 w 8147765"/>
              <a:gd name="connsiteY25" fmla="*/ 2272242 h 4301704"/>
              <a:gd name="connsiteX26" fmla="*/ 5368313 w 8147765"/>
              <a:gd name="connsiteY26" fmla="*/ 2384607 h 4301704"/>
              <a:gd name="connsiteX27" fmla="*/ 5396405 w 8147765"/>
              <a:gd name="connsiteY27" fmla="*/ 2412699 h 4301704"/>
              <a:gd name="connsiteX28" fmla="*/ 7661857 w 8147765"/>
              <a:gd name="connsiteY28" fmla="*/ 2412699 h 4301704"/>
              <a:gd name="connsiteX29" fmla="*/ 7689949 w 8147765"/>
              <a:gd name="connsiteY29" fmla="*/ 2384607 h 4301704"/>
              <a:gd name="connsiteX30" fmla="*/ 7689949 w 8147765"/>
              <a:gd name="connsiteY30" fmla="*/ 2272242 h 4301704"/>
              <a:gd name="connsiteX31" fmla="*/ 7661857 w 8147765"/>
              <a:gd name="connsiteY31" fmla="*/ 2244150 h 4301704"/>
              <a:gd name="connsiteX32" fmla="*/ 5396405 w 8147765"/>
              <a:gd name="connsiteY32" fmla="*/ 2048289 h 4301704"/>
              <a:gd name="connsiteX33" fmla="*/ 5368313 w 8147765"/>
              <a:gd name="connsiteY33" fmla="*/ 2076381 h 4301704"/>
              <a:gd name="connsiteX34" fmla="*/ 5368313 w 8147765"/>
              <a:gd name="connsiteY34" fmla="*/ 2188746 h 4301704"/>
              <a:gd name="connsiteX35" fmla="*/ 5396405 w 8147765"/>
              <a:gd name="connsiteY35" fmla="*/ 2216838 h 4301704"/>
              <a:gd name="connsiteX36" fmla="*/ 7661857 w 8147765"/>
              <a:gd name="connsiteY36" fmla="*/ 2216838 h 4301704"/>
              <a:gd name="connsiteX37" fmla="*/ 7689949 w 8147765"/>
              <a:gd name="connsiteY37" fmla="*/ 2188746 h 4301704"/>
              <a:gd name="connsiteX38" fmla="*/ 7689949 w 8147765"/>
              <a:gd name="connsiteY38" fmla="*/ 2076381 h 4301704"/>
              <a:gd name="connsiteX39" fmla="*/ 7661857 w 8147765"/>
              <a:gd name="connsiteY39" fmla="*/ 2048289 h 4301704"/>
              <a:gd name="connsiteX40" fmla="*/ 7782919 w 8147765"/>
              <a:gd name="connsiteY40" fmla="*/ 2002780 h 4301704"/>
              <a:gd name="connsiteX41" fmla="*/ 7733561 w 8147765"/>
              <a:gd name="connsiteY41" fmla="*/ 2052138 h 4301704"/>
              <a:gd name="connsiteX42" fmla="*/ 7733561 w 8147765"/>
              <a:gd name="connsiteY42" fmla="*/ 2249566 h 4301704"/>
              <a:gd name="connsiteX43" fmla="*/ 7782919 w 8147765"/>
              <a:gd name="connsiteY43" fmla="*/ 2298924 h 4301704"/>
              <a:gd name="connsiteX44" fmla="*/ 7981072 w 8147765"/>
              <a:gd name="connsiteY44" fmla="*/ 2298924 h 4301704"/>
              <a:gd name="connsiteX45" fmla="*/ 8030430 w 8147765"/>
              <a:gd name="connsiteY45" fmla="*/ 2249566 h 4301704"/>
              <a:gd name="connsiteX46" fmla="*/ 8030430 w 8147765"/>
              <a:gd name="connsiteY46" fmla="*/ 2052138 h 4301704"/>
              <a:gd name="connsiteX47" fmla="*/ 7981072 w 8147765"/>
              <a:gd name="connsiteY47" fmla="*/ 2002780 h 4301704"/>
              <a:gd name="connsiteX48" fmla="*/ 0 w 8147765"/>
              <a:gd name="connsiteY48" fmla="*/ 0 h 4301704"/>
              <a:gd name="connsiteX49" fmla="*/ 8147765 w 8147765"/>
              <a:gd name="connsiteY49" fmla="*/ 0 h 4301704"/>
              <a:gd name="connsiteX50" fmla="*/ 8147765 w 8147765"/>
              <a:gd name="connsiteY50" fmla="*/ 4301704 h 4301704"/>
              <a:gd name="connsiteX51" fmla="*/ 0 w 8147765"/>
              <a:gd name="connsiteY51" fmla="*/ 4301704 h 430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147765" h="4301704">
                <a:moveTo>
                  <a:pt x="5396405" y="2819743"/>
                </a:moveTo>
                <a:cubicBezTo>
                  <a:pt x="5380890" y="2819743"/>
                  <a:pt x="5368313" y="2832320"/>
                  <a:pt x="5368313" y="2847835"/>
                </a:cubicBezTo>
                <a:lnTo>
                  <a:pt x="5368313" y="2960200"/>
                </a:lnTo>
                <a:cubicBezTo>
                  <a:pt x="5368313" y="2975715"/>
                  <a:pt x="5380890" y="2988292"/>
                  <a:pt x="5396405" y="2988292"/>
                </a:cubicBezTo>
                <a:lnTo>
                  <a:pt x="7661857" y="2988292"/>
                </a:lnTo>
                <a:cubicBezTo>
                  <a:pt x="7677372" y="2988292"/>
                  <a:pt x="7689949" y="2975715"/>
                  <a:pt x="7689949" y="2960200"/>
                </a:cubicBezTo>
                <a:lnTo>
                  <a:pt x="7689949" y="2847835"/>
                </a:lnTo>
                <a:cubicBezTo>
                  <a:pt x="7689949" y="2832320"/>
                  <a:pt x="7677372" y="2819743"/>
                  <a:pt x="7661857" y="2819743"/>
                </a:cubicBezTo>
                <a:close/>
                <a:moveTo>
                  <a:pt x="5392628" y="2630103"/>
                </a:moveTo>
                <a:cubicBezTo>
                  <a:pt x="5377113" y="2630103"/>
                  <a:pt x="5364536" y="2642680"/>
                  <a:pt x="5364536" y="2658195"/>
                </a:cubicBezTo>
                <a:lnTo>
                  <a:pt x="5364536" y="2770560"/>
                </a:lnTo>
                <a:cubicBezTo>
                  <a:pt x="5364536" y="2786075"/>
                  <a:pt x="5377113" y="2798652"/>
                  <a:pt x="5392628" y="2798652"/>
                </a:cubicBezTo>
                <a:lnTo>
                  <a:pt x="7658080" y="2798652"/>
                </a:lnTo>
                <a:cubicBezTo>
                  <a:pt x="7673595" y="2798652"/>
                  <a:pt x="7686172" y="2786075"/>
                  <a:pt x="7686172" y="2770560"/>
                </a:cubicBezTo>
                <a:lnTo>
                  <a:pt x="7686172" y="2658195"/>
                </a:lnTo>
                <a:cubicBezTo>
                  <a:pt x="7686172" y="2642680"/>
                  <a:pt x="7673595" y="2630103"/>
                  <a:pt x="7658080" y="2630103"/>
                </a:cubicBezTo>
                <a:close/>
                <a:moveTo>
                  <a:pt x="5396405" y="2440463"/>
                </a:moveTo>
                <a:cubicBezTo>
                  <a:pt x="5380890" y="2440463"/>
                  <a:pt x="5368313" y="2453040"/>
                  <a:pt x="5368313" y="2468555"/>
                </a:cubicBezTo>
                <a:lnTo>
                  <a:pt x="5368313" y="2580920"/>
                </a:lnTo>
                <a:cubicBezTo>
                  <a:pt x="5368313" y="2596435"/>
                  <a:pt x="5380890" y="2609012"/>
                  <a:pt x="5396405" y="2609012"/>
                </a:cubicBezTo>
                <a:lnTo>
                  <a:pt x="7661857" y="2609012"/>
                </a:lnTo>
                <a:cubicBezTo>
                  <a:pt x="7677372" y="2609012"/>
                  <a:pt x="7689949" y="2596435"/>
                  <a:pt x="7689949" y="2580920"/>
                </a:cubicBezTo>
                <a:lnTo>
                  <a:pt x="7689949" y="2468555"/>
                </a:lnTo>
                <a:cubicBezTo>
                  <a:pt x="7689949" y="2453040"/>
                  <a:pt x="7677372" y="2440463"/>
                  <a:pt x="7661857" y="2440463"/>
                </a:cubicBezTo>
                <a:close/>
                <a:moveTo>
                  <a:pt x="5396405" y="2244150"/>
                </a:moveTo>
                <a:cubicBezTo>
                  <a:pt x="5380890" y="2244150"/>
                  <a:pt x="5368313" y="2256727"/>
                  <a:pt x="5368313" y="2272242"/>
                </a:cubicBezTo>
                <a:lnTo>
                  <a:pt x="5368313" y="2384607"/>
                </a:lnTo>
                <a:cubicBezTo>
                  <a:pt x="5368313" y="2400122"/>
                  <a:pt x="5380890" y="2412699"/>
                  <a:pt x="5396405" y="2412699"/>
                </a:cubicBezTo>
                <a:lnTo>
                  <a:pt x="7661857" y="2412699"/>
                </a:lnTo>
                <a:cubicBezTo>
                  <a:pt x="7677372" y="2412699"/>
                  <a:pt x="7689949" y="2400122"/>
                  <a:pt x="7689949" y="2384607"/>
                </a:cubicBezTo>
                <a:lnTo>
                  <a:pt x="7689949" y="2272242"/>
                </a:lnTo>
                <a:cubicBezTo>
                  <a:pt x="7689949" y="2256727"/>
                  <a:pt x="7677372" y="2244150"/>
                  <a:pt x="7661857" y="2244150"/>
                </a:cubicBezTo>
                <a:close/>
                <a:moveTo>
                  <a:pt x="5396405" y="2048289"/>
                </a:moveTo>
                <a:cubicBezTo>
                  <a:pt x="5380890" y="2048289"/>
                  <a:pt x="5368313" y="2060866"/>
                  <a:pt x="5368313" y="2076381"/>
                </a:cubicBezTo>
                <a:lnTo>
                  <a:pt x="5368313" y="2188746"/>
                </a:lnTo>
                <a:cubicBezTo>
                  <a:pt x="5368313" y="2204261"/>
                  <a:pt x="5380890" y="2216838"/>
                  <a:pt x="5396405" y="2216838"/>
                </a:cubicBezTo>
                <a:lnTo>
                  <a:pt x="7661857" y="2216838"/>
                </a:lnTo>
                <a:cubicBezTo>
                  <a:pt x="7677372" y="2216838"/>
                  <a:pt x="7689949" y="2204261"/>
                  <a:pt x="7689949" y="2188746"/>
                </a:cubicBezTo>
                <a:lnTo>
                  <a:pt x="7689949" y="2076381"/>
                </a:lnTo>
                <a:cubicBezTo>
                  <a:pt x="7689949" y="2060866"/>
                  <a:pt x="7677372" y="2048289"/>
                  <a:pt x="7661857" y="2048289"/>
                </a:cubicBezTo>
                <a:close/>
                <a:moveTo>
                  <a:pt x="7782919" y="2002780"/>
                </a:moveTo>
                <a:cubicBezTo>
                  <a:pt x="7755659" y="2002780"/>
                  <a:pt x="7733561" y="2024878"/>
                  <a:pt x="7733561" y="2052138"/>
                </a:cubicBezTo>
                <a:lnTo>
                  <a:pt x="7733561" y="2249566"/>
                </a:lnTo>
                <a:cubicBezTo>
                  <a:pt x="7733561" y="2276826"/>
                  <a:pt x="7755659" y="2298924"/>
                  <a:pt x="7782919" y="2298924"/>
                </a:cubicBezTo>
                <a:lnTo>
                  <a:pt x="7981072" y="2298924"/>
                </a:lnTo>
                <a:cubicBezTo>
                  <a:pt x="8008332" y="2298924"/>
                  <a:pt x="8030430" y="2276826"/>
                  <a:pt x="8030430" y="2249566"/>
                </a:cubicBezTo>
                <a:lnTo>
                  <a:pt x="8030430" y="2052138"/>
                </a:lnTo>
                <a:cubicBezTo>
                  <a:pt x="8030430" y="2024878"/>
                  <a:pt x="8008332" y="2002780"/>
                  <a:pt x="7981072" y="2002780"/>
                </a:cubicBezTo>
                <a:close/>
                <a:moveTo>
                  <a:pt x="0" y="0"/>
                </a:moveTo>
                <a:lnTo>
                  <a:pt x="8147765" y="0"/>
                </a:lnTo>
                <a:lnTo>
                  <a:pt x="8147765" y="4301704"/>
                </a:lnTo>
                <a:lnTo>
                  <a:pt x="0" y="4301704"/>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extBox 16">
            <a:extLst>
              <a:ext uri="{FF2B5EF4-FFF2-40B4-BE49-F238E27FC236}">
                <a16:creationId xmlns:a16="http://schemas.microsoft.com/office/drawing/2014/main" id="{916BFB2C-4C54-C470-CF83-7AA023331BF1}"/>
              </a:ext>
            </a:extLst>
          </p:cNvPr>
          <p:cNvSpPr txBox="1"/>
          <p:nvPr/>
        </p:nvSpPr>
        <p:spPr>
          <a:xfrm>
            <a:off x="8225315" y="3773094"/>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8" name="TextBox 17">
            <a:extLst>
              <a:ext uri="{FF2B5EF4-FFF2-40B4-BE49-F238E27FC236}">
                <a16:creationId xmlns:a16="http://schemas.microsoft.com/office/drawing/2014/main" id="{3D8D66EA-6F30-EB65-732D-465B56744C91}"/>
              </a:ext>
            </a:extLst>
          </p:cNvPr>
          <p:cNvSpPr txBox="1"/>
          <p:nvPr/>
        </p:nvSpPr>
        <p:spPr>
          <a:xfrm>
            <a:off x="5594082" y="4047625"/>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9" name="TextBox 18">
            <a:extLst>
              <a:ext uri="{FF2B5EF4-FFF2-40B4-BE49-F238E27FC236}">
                <a16:creationId xmlns:a16="http://schemas.microsoft.com/office/drawing/2014/main" id="{F11E8485-429A-E2A7-2920-6B96EAF3E279}"/>
              </a:ext>
            </a:extLst>
          </p:cNvPr>
          <p:cNvSpPr txBox="1"/>
          <p:nvPr/>
        </p:nvSpPr>
        <p:spPr>
          <a:xfrm>
            <a:off x="5594082" y="4276254"/>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
        <p:nvSpPr>
          <p:cNvPr id="20" name="TextBox 19">
            <a:extLst>
              <a:ext uri="{FF2B5EF4-FFF2-40B4-BE49-F238E27FC236}">
                <a16:creationId xmlns:a16="http://schemas.microsoft.com/office/drawing/2014/main" id="{585F32BD-8BC4-BD62-225B-613702FCBFA9}"/>
              </a:ext>
            </a:extLst>
          </p:cNvPr>
          <p:cNvSpPr txBox="1"/>
          <p:nvPr/>
        </p:nvSpPr>
        <p:spPr>
          <a:xfrm>
            <a:off x="5594082" y="4432596"/>
            <a:ext cx="129235" cy="280751"/>
          </a:xfrm>
          <a:prstGeom prst="rect">
            <a:avLst/>
          </a:prstGeom>
        </p:spPr>
        <p:txBody>
          <a:bodyPr vert="horz" wrap="none" lIns="0" tIns="0" rIns="0" bIns="0" rtlCol="0" anchor="t">
            <a:noAutofit/>
          </a:bodyPr>
          <a:lstStyle/>
          <a:p>
            <a:pPr algn="l"/>
            <a:r>
              <a:rPr lang="ar-SA" sz="2000" b="1" dirty="0">
                <a:solidFill>
                  <a:schemeClr val="bg1"/>
                </a:solidFill>
              </a:rPr>
              <a:t>4</a:t>
            </a:r>
            <a:endParaRPr lang="en-US" sz="2000" b="1" dirty="0">
              <a:solidFill>
                <a:schemeClr val="bg1"/>
              </a:solidFill>
            </a:endParaRPr>
          </a:p>
        </p:txBody>
      </p:sp>
      <p:sp>
        <p:nvSpPr>
          <p:cNvPr id="21" name="TextBox 20">
            <a:extLst>
              <a:ext uri="{FF2B5EF4-FFF2-40B4-BE49-F238E27FC236}">
                <a16:creationId xmlns:a16="http://schemas.microsoft.com/office/drawing/2014/main" id="{A10AF12A-FE37-FBF6-7F3F-01B2424FBD61}"/>
              </a:ext>
            </a:extLst>
          </p:cNvPr>
          <p:cNvSpPr txBox="1"/>
          <p:nvPr/>
        </p:nvSpPr>
        <p:spPr>
          <a:xfrm>
            <a:off x="5594080" y="4645258"/>
            <a:ext cx="129235" cy="280751"/>
          </a:xfrm>
          <a:prstGeom prst="rect">
            <a:avLst/>
          </a:prstGeom>
        </p:spPr>
        <p:txBody>
          <a:bodyPr vert="horz" wrap="none" lIns="0" tIns="0" rIns="0" bIns="0" rtlCol="0" anchor="t">
            <a:noAutofit/>
          </a:bodyPr>
          <a:lstStyle/>
          <a:p>
            <a:pPr algn="l"/>
            <a:r>
              <a:rPr lang="ar-SA" sz="2000" b="1" dirty="0">
                <a:solidFill>
                  <a:schemeClr val="bg1"/>
                </a:solidFill>
              </a:rPr>
              <a:t>5</a:t>
            </a:r>
            <a:endParaRPr lang="en-US" sz="2000" b="1" dirty="0">
              <a:solidFill>
                <a:schemeClr val="bg1"/>
              </a:solidFill>
            </a:endParaRPr>
          </a:p>
        </p:txBody>
      </p:sp>
      <p:sp>
        <p:nvSpPr>
          <p:cNvPr id="22" name="TextBox 21">
            <a:extLst>
              <a:ext uri="{FF2B5EF4-FFF2-40B4-BE49-F238E27FC236}">
                <a16:creationId xmlns:a16="http://schemas.microsoft.com/office/drawing/2014/main" id="{9B2E4526-2374-6DC1-2CB0-5E1B6C56EA81}"/>
              </a:ext>
            </a:extLst>
          </p:cNvPr>
          <p:cNvSpPr txBox="1"/>
          <p:nvPr/>
        </p:nvSpPr>
        <p:spPr>
          <a:xfrm>
            <a:off x="5594080" y="4817567"/>
            <a:ext cx="129235" cy="280751"/>
          </a:xfrm>
          <a:prstGeom prst="rect">
            <a:avLst/>
          </a:prstGeom>
        </p:spPr>
        <p:txBody>
          <a:bodyPr vert="horz" wrap="none" lIns="0" tIns="0" rIns="0" bIns="0" rtlCol="0" anchor="t">
            <a:noAutofit/>
          </a:bodyPr>
          <a:lstStyle/>
          <a:p>
            <a:pPr algn="l"/>
            <a:r>
              <a:rPr lang="ar-SA" sz="2000" b="1" dirty="0">
                <a:solidFill>
                  <a:schemeClr val="bg1"/>
                </a:solidFill>
              </a:rPr>
              <a:t>6</a:t>
            </a:r>
            <a:endParaRPr lang="en-US" sz="2000" b="1" dirty="0">
              <a:solidFill>
                <a:schemeClr val="bg1"/>
              </a:solidFill>
            </a:endParaRPr>
          </a:p>
        </p:txBody>
      </p:sp>
      <p:sp>
        <p:nvSpPr>
          <p:cNvPr id="9" name="Text Placeholder 6">
            <a:extLst>
              <a:ext uri="{FF2B5EF4-FFF2-40B4-BE49-F238E27FC236}">
                <a16:creationId xmlns:a16="http://schemas.microsoft.com/office/drawing/2014/main" id="{D1480808-495B-5792-82B6-C3B6D598EDEB}"/>
              </a:ext>
            </a:extLst>
          </p:cNvPr>
          <p:cNvSpPr txBox="1">
            <a:spLocks/>
          </p:cNvSpPr>
          <p:nvPr/>
        </p:nvSpPr>
        <p:spPr>
          <a:xfrm>
            <a:off x="534825" y="621101"/>
            <a:ext cx="10936449" cy="757255"/>
          </a:xfrm>
          <a:prstGeom prst="rect">
            <a:avLst/>
          </a:prstGeom>
        </p:spPr>
        <p:txBody>
          <a:bodyPr vert="horz" lIns="0" tIns="0" rIns="0" bIns="0" rtlCol="0">
            <a:noAutofit/>
          </a:bodyPr>
          <a:lstStyle>
            <a:lvl1pPr marL="0" indent="0" algn="r" defTabSz="914400" rtl="1" eaLnBrk="1" latinLnBrk="0" hangingPunct="1">
              <a:lnSpc>
                <a:spcPct val="90000"/>
              </a:lnSpc>
              <a:spcBef>
                <a:spcPts val="1000"/>
              </a:spcBef>
              <a:buFont typeface="Arial" panose="020B0604020202020204" pitchFamily="34" charset="0"/>
              <a:buNone/>
              <a:defRPr sz="2400" b="0" i="0" kern="1200">
                <a:solidFill>
                  <a:schemeClr val="accent2"/>
                </a:solidFill>
                <a:latin typeface="+mn-lt"/>
                <a:ea typeface="+mn-ea"/>
                <a:cs typeface="+mn-cs"/>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mn-lt"/>
                <a:ea typeface="+mn-ea"/>
                <a:cs typeface="+mn-cs"/>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mn-lt"/>
                <a:ea typeface="+mn-ea"/>
                <a:cs typeface="+mn-cs"/>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mn-lt"/>
                <a:ea typeface="+mn-ea"/>
                <a:cs typeface="+mn-cs"/>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نظرة عامة</a:t>
            </a:r>
            <a:endParaRPr lang="en-US" dirty="0"/>
          </a:p>
        </p:txBody>
      </p:sp>
    </p:spTree>
    <p:extLst>
      <p:ext uri="{BB962C8B-B14F-4D97-AF65-F5344CB8AC3E}">
        <p14:creationId xmlns:p14="http://schemas.microsoft.com/office/powerpoint/2010/main" val="1679399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93B6A-030B-15FD-A2DC-FAFFDAC6CCD6}"/>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A694F16B-1AB4-724D-1E91-ECA02210C15F}"/>
              </a:ext>
            </a:extLst>
          </p:cNvPr>
          <p:cNvSpPr>
            <a:spLocks noGrp="1"/>
          </p:cNvSpPr>
          <p:nvPr>
            <p:ph type="chart" sz="quarter" idx="21"/>
          </p:nvPr>
        </p:nvSpPr>
        <p:spPr>
          <a:xfrm>
            <a:off x="6527124" y="1840548"/>
            <a:ext cx="5130051" cy="4455725"/>
          </a:xfrm>
        </p:spPr>
        <p:txBody>
          <a:bodyPr/>
          <a:lstStyle/>
          <a:p>
            <a:r>
              <a:rPr lang="ar-SA" dirty="0"/>
              <a:t>لوحة الأداء الخاصة بالأداء الاستراتيجي لبرنامج </a:t>
            </a:r>
            <a:br>
              <a:rPr lang="en-US" dirty="0"/>
            </a:br>
            <a:r>
              <a:rPr lang="ar-SA" dirty="0"/>
              <a:t>تطوير وزارة الحرس الوطني ( استراتيجي ).</a:t>
            </a:r>
          </a:p>
          <a:p>
            <a:pPr marL="342900" indent="-342900">
              <a:buFont typeface="+mj-lt"/>
              <a:buAutoNum type="arabicPeriod"/>
            </a:pPr>
            <a:r>
              <a:rPr lang="ar-SA" dirty="0"/>
              <a:t>الأداء العام للأهداف الإستراتيجية</a:t>
            </a:r>
          </a:p>
          <a:p>
            <a:pPr marL="342900" indent="-342900">
              <a:buFont typeface="+mj-lt"/>
              <a:buAutoNum type="arabicPeriod"/>
            </a:pPr>
            <a:r>
              <a:rPr lang="ar-SA" dirty="0"/>
              <a:t>المؤشرات الإستراتيجية</a:t>
            </a:r>
          </a:p>
          <a:p>
            <a:pPr marL="342900" indent="-342900">
              <a:buFont typeface="+mj-lt"/>
              <a:buAutoNum type="arabicPeriod"/>
            </a:pPr>
            <a:r>
              <a:rPr lang="ar-SA" dirty="0"/>
              <a:t>المشاريع</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r>
              <a:rPr lang="ar-SA" dirty="0"/>
              <a:t>ملاحظه هذه ليست لوحة الأداء بكامل التفاصيل</a:t>
            </a:r>
            <a:endParaRPr lang="en-US"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76BD56B6-CAD4-D5B9-3261-D64B5B82F8EB}"/>
              </a:ext>
            </a:extLst>
          </p:cNvPr>
          <p:cNvSpPr>
            <a:spLocks noGrp="1"/>
          </p:cNvSpPr>
          <p:nvPr>
            <p:ph type="sldNum" sz="quarter" idx="4"/>
          </p:nvPr>
        </p:nvSpPr>
        <p:spPr/>
        <p:txBody>
          <a:bodyPr/>
          <a:lstStyle/>
          <a:p>
            <a:fld id="{E75C2C89-F887-4946-9289-77479B29E3CB}" type="slidenum">
              <a:rPr lang="en-US" smtClean="0"/>
              <a:pPr/>
              <a:t>26</a:t>
            </a:fld>
            <a:endParaRPr lang="en-US"/>
          </a:p>
        </p:txBody>
      </p:sp>
      <p:sp>
        <p:nvSpPr>
          <p:cNvPr id="7" name="Text Placeholder 6">
            <a:extLst>
              <a:ext uri="{FF2B5EF4-FFF2-40B4-BE49-F238E27FC236}">
                <a16:creationId xmlns:a16="http://schemas.microsoft.com/office/drawing/2014/main" id="{BD6AC0F7-7C61-B07E-DC1F-5176E88AAC6F}"/>
              </a:ext>
            </a:extLst>
          </p:cNvPr>
          <p:cNvSpPr>
            <a:spLocks noGrp="1"/>
          </p:cNvSpPr>
          <p:nvPr>
            <p:ph type="body" sz="quarter" idx="24"/>
          </p:nvPr>
        </p:nvSpPr>
        <p:spPr/>
        <p:txBody>
          <a:bodyPr/>
          <a:lstStyle/>
          <a:p>
            <a:r>
              <a:rPr lang="ar-SA" dirty="0"/>
              <a:t>الأداء الاستراتيجي لبرنامج تطوير وزارة الحرس الوطني ( استراتيجي )</a:t>
            </a:r>
            <a:endParaRPr lang="en-US" dirty="0"/>
          </a:p>
        </p:txBody>
      </p:sp>
      <p:sp>
        <p:nvSpPr>
          <p:cNvPr id="8" name="Title 7">
            <a:extLst>
              <a:ext uri="{FF2B5EF4-FFF2-40B4-BE49-F238E27FC236}">
                <a16:creationId xmlns:a16="http://schemas.microsoft.com/office/drawing/2014/main" id="{ACB1712E-87F8-5F80-B00F-AD87FF99263C}"/>
              </a:ext>
            </a:extLst>
          </p:cNvPr>
          <p:cNvSpPr>
            <a:spLocks noGrp="1"/>
          </p:cNvSpPr>
          <p:nvPr>
            <p:ph type="title"/>
          </p:nvPr>
        </p:nvSpPr>
        <p:spPr/>
        <p:txBody>
          <a:bodyPr/>
          <a:lstStyle/>
          <a:p>
            <a:r>
              <a:rPr lang="ar-SA" dirty="0"/>
              <a:t>لوحة أداء</a:t>
            </a:r>
            <a:endParaRPr lang="en-US" dirty="0"/>
          </a:p>
        </p:txBody>
      </p:sp>
      <p:grpSp>
        <p:nvGrpSpPr>
          <p:cNvPr id="2" name="Group 1">
            <a:extLst>
              <a:ext uri="{FF2B5EF4-FFF2-40B4-BE49-F238E27FC236}">
                <a16:creationId xmlns:a16="http://schemas.microsoft.com/office/drawing/2014/main" id="{63673529-CDC8-8433-8543-1AD0558C5ECF}"/>
              </a:ext>
            </a:extLst>
          </p:cNvPr>
          <p:cNvGrpSpPr/>
          <p:nvPr/>
        </p:nvGrpSpPr>
        <p:grpSpPr>
          <a:xfrm>
            <a:off x="847245" y="1595322"/>
            <a:ext cx="6975612" cy="4789173"/>
            <a:chOff x="469128" y="1851671"/>
            <a:chExt cx="5983429" cy="4107980"/>
          </a:xfrm>
        </p:grpSpPr>
        <p:pic>
          <p:nvPicPr>
            <p:cNvPr id="4" name="Picture 3">
              <a:extLst>
                <a:ext uri="{FF2B5EF4-FFF2-40B4-BE49-F238E27FC236}">
                  <a16:creationId xmlns:a16="http://schemas.microsoft.com/office/drawing/2014/main" id="{AA2F82C2-A8F6-8081-6D4D-D10ACEE2610A}"/>
                </a:ext>
              </a:extLst>
            </p:cNvPr>
            <p:cNvPicPr>
              <a:picLocks noChangeAspect="1"/>
            </p:cNvPicPr>
            <p:nvPr/>
          </p:nvPicPr>
          <p:blipFill>
            <a:blip r:embed="rId2"/>
            <a:stretch>
              <a:fillRect/>
            </a:stretch>
          </p:blipFill>
          <p:spPr>
            <a:xfrm>
              <a:off x="469128" y="1851671"/>
              <a:ext cx="5983429" cy="2749497"/>
            </a:xfrm>
            <a:prstGeom prst="rect">
              <a:avLst/>
            </a:prstGeom>
          </p:spPr>
        </p:pic>
        <p:pic>
          <p:nvPicPr>
            <p:cNvPr id="12" name="Picture 11">
              <a:extLst>
                <a:ext uri="{FF2B5EF4-FFF2-40B4-BE49-F238E27FC236}">
                  <a16:creationId xmlns:a16="http://schemas.microsoft.com/office/drawing/2014/main" id="{F92D5E37-44CC-2B33-7083-107C2B3694E6}"/>
                </a:ext>
              </a:extLst>
            </p:cNvPr>
            <p:cNvPicPr>
              <a:picLocks noChangeAspect="1"/>
            </p:cNvPicPr>
            <p:nvPr/>
          </p:nvPicPr>
          <p:blipFill>
            <a:blip r:embed="rId3"/>
            <a:stretch>
              <a:fillRect/>
            </a:stretch>
          </p:blipFill>
          <p:spPr>
            <a:xfrm>
              <a:off x="469128" y="4601168"/>
              <a:ext cx="5983429" cy="1358483"/>
            </a:xfrm>
            <a:prstGeom prst="rect">
              <a:avLst/>
            </a:prstGeom>
          </p:spPr>
        </p:pic>
      </p:grpSp>
      <p:sp>
        <p:nvSpPr>
          <p:cNvPr id="14" name="Free-form: Shape 13">
            <a:extLst>
              <a:ext uri="{FF2B5EF4-FFF2-40B4-BE49-F238E27FC236}">
                <a16:creationId xmlns:a16="http://schemas.microsoft.com/office/drawing/2014/main" id="{808335EC-CE06-CEB0-791C-A96ECC21B235}"/>
              </a:ext>
            </a:extLst>
          </p:cNvPr>
          <p:cNvSpPr/>
          <p:nvPr/>
        </p:nvSpPr>
        <p:spPr>
          <a:xfrm>
            <a:off x="847245" y="1595321"/>
            <a:ext cx="6975612" cy="4789173"/>
          </a:xfrm>
          <a:custGeom>
            <a:avLst/>
            <a:gdLst>
              <a:gd name="connsiteX0" fmla="*/ 6975612 w 6975612"/>
              <a:gd name="connsiteY0" fmla="*/ 4525812 h 4789173"/>
              <a:gd name="connsiteX1" fmla="*/ 6975612 w 6975612"/>
              <a:gd name="connsiteY1" fmla="*/ 4789173 h 4789173"/>
              <a:gd name="connsiteX2" fmla="*/ 0 w 6975612"/>
              <a:gd name="connsiteY2" fmla="*/ 4789173 h 4789173"/>
              <a:gd name="connsiteX3" fmla="*/ 0 w 6975612"/>
              <a:gd name="connsiteY3" fmla="*/ 4525813 h 4789173"/>
              <a:gd name="connsiteX4" fmla="*/ 17019 w 6975612"/>
              <a:gd name="connsiteY4" fmla="*/ 4610108 h 4789173"/>
              <a:gd name="connsiteX5" fmla="*/ 216562 w 6975612"/>
              <a:gd name="connsiteY5" fmla="*/ 4742374 h 4789173"/>
              <a:gd name="connsiteX6" fmla="*/ 6759050 w 6975612"/>
              <a:gd name="connsiteY6" fmla="*/ 4742374 h 4789173"/>
              <a:gd name="connsiteX7" fmla="*/ 6975612 w 6975612"/>
              <a:gd name="connsiteY7" fmla="*/ 4525812 h 4789173"/>
              <a:gd name="connsiteX8" fmla="*/ 6975612 w 6975612"/>
              <a:gd name="connsiteY8" fmla="*/ 2980214 h 4789173"/>
              <a:gd name="connsiteX9" fmla="*/ 6975612 w 6975612"/>
              <a:gd name="connsiteY9" fmla="*/ 3659588 h 4789173"/>
              <a:gd name="connsiteX10" fmla="*/ 6759050 w 6975612"/>
              <a:gd name="connsiteY10" fmla="*/ 3443026 h 4789173"/>
              <a:gd name="connsiteX11" fmla="*/ 216562 w 6975612"/>
              <a:gd name="connsiteY11" fmla="*/ 3443026 h 4789173"/>
              <a:gd name="connsiteX12" fmla="*/ 17019 w 6975612"/>
              <a:gd name="connsiteY12" fmla="*/ 3575292 h 4789173"/>
              <a:gd name="connsiteX13" fmla="*/ 0 w 6975612"/>
              <a:gd name="connsiteY13" fmla="*/ 3659587 h 4789173"/>
              <a:gd name="connsiteX14" fmla="*/ 0 w 6975612"/>
              <a:gd name="connsiteY14" fmla="*/ 2980215 h 4789173"/>
              <a:gd name="connsiteX15" fmla="*/ 18021 w 6975612"/>
              <a:gd name="connsiteY15" fmla="*/ 3069473 h 4789173"/>
              <a:gd name="connsiteX16" fmla="*/ 229313 w 6975612"/>
              <a:gd name="connsiteY16" fmla="*/ 3209527 h 4789173"/>
              <a:gd name="connsiteX17" fmla="*/ 6746299 w 6975612"/>
              <a:gd name="connsiteY17" fmla="*/ 3209527 h 4789173"/>
              <a:gd name="connsiteX18" fmla="*/ 6975612 w 6975612"/>
              <a:gd name="connsiteY18" fmla="*/ 2980214 h 4789173"/>
              <a:gd name="connsiteX19" fmla="*/ 0 w 6975612"/>
              <a:gd name="connsiteY19" fmla="*/ 1333687 h 4789173"/>
              <a:gd name="connsiteX20" fmla="*/ 218518 w 6975612"/>
              <a:gd name="connsiteY20" fmla="*/ 1552205 h 4789173"/>
              <a:gd name="connsiteX21" fmla="*/ 6757094 w 6975612"/>
              <a:gd name="connsiteY21" fmla="*/ 1552205 h 4789173"/>
              <a:gd name="connsiteX22" fmla="*/ 6975612 w 6975612"/>
              <a:gd name="connsiteY22" fmla="*/ 1333687 h 4789173"/>
              <a:gd name="connsiteX23" fmla="*/ 6975612 w 6975612"/>
              <a:gd name="connsiteY23" fmla="*/ 2062991 h 4789173"/>
              <a:gd name="connsiteX24" fmla="*/ 6746299 w 6975612"/>
              <a:gd name="connsiteY24" fmla="*/ 1833678 h 4789173"/>
              <a:gd name="connsiteX25" fmla="*/ 229313 w 6975612"/>
              <a:gd name="connsiteY25" fmla="*/ 1833678 h 4789173"/>
              <a:gd name="connsiteX26" fmla="*/ 18021 w 6975612"/>
              <a:gd name="connsiteY26" fmla="*/ 1973732 h 4789173"/>
              <a:gd name="connsiteX27" fmla="*/ 0 w 6975612"/>
              <a:gd name="connsiteY27" fmla="*/ 2062991 h 4789173"/>
              <a:gd name="connsiteX28" fmla="*/ 0 w 6975612"/>
              <a:gd name="connsiteY28" fmla="*/ 0 h 4789173"/>
              <a:gd name="connsiteX29" fmla="*/ 6975612 w 6975612"/>
              <a:gd name="connsiteY29" fmla="*/ 0 h 4789173"/>
              <a:gd name="connsiteX30" fmla="*/ 6975612 w 6975612"/>
              <a:gd name="connsiteY30" fmla="*/ 459642 h 4789173"/>
              <a:gd name="connsiteX31" fmla="*/ 6757094 w 6975612"/>
              <a:gd name="connsiteY31" fmla="*/ 241124 h 4789173"/>
              <a:gd name="connsiteX32" fmla="*/ 218518 w 6975612"/>
              <a:gd name="connsiteY32" fmla="*/ 241124 h 4789173"/>
              <a:gd name="connsiteX33" fmla="*/ 0 w 6975612"/>
              <a:gd name="connsiteY33" fmla="*/ 459642 h 478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75612" h="4789173">
                <a:moveTo>
                  <a:pt x="6975612" y="4525812"/>
                </a:moveTo>
                <a:lnTo>
                  <a:pt x="6975612" y="4789173"/>
                </a:lnTo>
                <a:lnTo>
                  <a:pt x="0" y="4789173"/>
                </a:lnTo>
                <a:lnTo>
                  <a:pt x="0" y="4525813"/>
                </a:lnTo>
                <a:lnTo>
                  <a:pt x="17019" y="4610108"/>
                </a:lnTo>
                <a:cubicBezTo>
                  <a:pt x="49894" y="4687835"/>
                  <a:pt x="126859" y="4742374"/>
                  <a:pt x="216562" y="4742374"/>
                </a:cubicBezTo>
                <a:lnTo>
                  <a:pt x="6759050" y="4742374"/>
                </a:lnTo>
                <a:cubicBezTo>
                  <a:pt x="6878654" y="4742374"/>
                  <a:pt x="6975612" y="4645416"/>
                  <a:pt x="6975612" y="4525812"/>
                </a:cubicBezTo>
                <a:close/>
                <a:moveTo>
                  <a:pt x="6975612" y="2980214"/>
                </a:moveTo>
                <a:lnTo>
                  <a:pt x="6975612" y="3659588"/>
                </a:lnTo>
                <a:cubicBezTo>
                  <a:pt x="6975612" y="3539984"/>
                  <a:pt x="6878654" y="3443026"/>
                  <a:pt x="6759050" y="3443026"/>
                </a:cubicBezTo>
                <a:lnTo>
                  <a:pt x="216562" y="3443026"/>
                </a:lnTo>
                <a:cubicBezTo>
                  <a:pt x="126859" y="3443026"/>
                  <a:pt x="49894" y="3497565"/>
                  <a:pt x="17019" y="3575292"/>
                </a:cubicBezTo>
                <a:lnTo>
                  <a:pt x="0" y="3659587"/>
                </a:lnTo>
                <a:lnTo>
                  <a:pt x="0" y="2980215"/>
                </a:lnTo>
                <a:lnTo>
                  <a:pt x="18021" y="3069473"/>
                </a:lnTo>
                <a:cubicBezTo>
                  <a:pt x="52832" y="3151777"/>
                  <a:pt x="134329" y="3209527"/>
                  <a:pt x="229313" y="3209527"/>
                </a:cubicBezTo>
                <a:lnTo>
                  <a:pt x="6746299" y="3209527"/>
                </a:lnTo>
                <a:cubicBezTo>
                  <a:pt x="6872945" y="3209527"/>
                  <a:pt x="6975612" y="3106860"/>
                  <a:pt x="6975612" y="2980214"/>
                </a:cubicBezTo>
                <a:close/>
                <a:moveTo>
                  <a:pt x="0" y="1333687"/>
                </a:moveTo>
                <a:cubicBezTo>
                  <a:pt x="0" y="1454371"/>
                  <a:pt x="97834" y="1552205"/>
                  <a:pt x="218518" y="1552205"/>
                </a:cubicBezTo>
                <a:lnTo>
                  <a:pt x="6757094" y="1552205"/>
                </a:lnTo>
                <a:cubicBezTo>
                  <a:pt x="6877778" y="1552205"/>
                  <a:pt x="6975612" y="1454371"/>
                  <a:pt x="6975612" y="1333687"/>
                </a:cubicBezTo>
                <a:lnTo>
                  <a:pt x="6975612" y="2062991"/>
                </a:lnTo>
                <a:cubicBezTo>
                  <a:pt x="6975612" y="1936345"/>
                  <a:pt x="6872945" y="1833678"/>
                  <a:pt x="6746299" y="1833678"/>
                </a:cubicBezTo>
                <a:lnTo>
                  <a:pt x="229313" y="1833678"/>
                </a:lnTo>
                <a:cubicBezTo>
                  <a:pt x="134329" y="1833678"/>
                  <a:pt x="52832" y="1891428"/>
                  <a:pt x="18021" y="1973732"/>
                </a:cubicBezTo>
                <a:lnTo>
                  <a:pt x="0" y="2062991"/>
                </a:lnTo>
                <a:close/>
                <a:moveTo>
                  <a:pt x="0" y="0"/>
                </a:moveTo>
                <a:lnTo>
                  <a:pt x="6975612" y="0"/>
                </a:lnTo>
                <a:lnTo>
                  <a:pt x="6975612" y="459642"/>
                </a:lnTo>
                <a:cubicBezTo>
                  <a:pt x="6975612" y="338958"/>
                  <a:pt x="6877778" y="241124"/>
                  <a:pt x="6757094" y="241124"/>
                </a:cubicBezTo>
                <a:lnTo>
                  <a:pt x="218518" y="241124"/>
                </a:lnTo>
                <a:cubicBezTo>
                  <a:pt x="97834" y="241124"/>
                  <a:pt x="0" y="338958"/>
                  <a:pt x="0" y="459642"/>
                </a:cubicBez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Box 14">
            <a:extLst>
              <a:ext uri="{FF2B5EF4-FFF2-40B4-BE49-F238E27FC236}">
                <a16:creationId xmlns:a16="http://schemas.microsoft.com/office/drawing/2014/main" id="{5AA32973-8600-A218-BA40-E6A2CA03C350}"/>
              </a:ext>
            </a:extLst>
          </p:cNvPr>
          <p:cNvSpPr txBox="1"/>
          <p:nvPr/>
        </p:nvSpPr>
        <p:spPr>
          <a:xfrm>
            <a:off x="6527124" y="1577559"/>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6" name="TextBox 15">
            <a:extLst>
              <a:ext uri="{FF2B5EF4-FFF2-40B4-BE49-F238E27FC236}">
                <a16:creationId xmlns:a16="http://schemas.microsoft.com/office/drawing/2014/main" id="{1EC2FBBC-39DA-8343-D31D-22EC1AB0DE1F}"/>
              </a:ext>
            </a:extLst>
          </p:cNvPr>
          <p:cNvSpPr txBox="1"/>
          <p:nvPr/>
        </p:nvSpPr>
        <p:spPr>
          <a:xfrm>
            <a:off x="6726197" y="3180272"/>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7" name="TextBox 16">
            <a:extLst>
              <a:ext uri="{FF2B5EF4-FFF2-40B4-BE49-F238E27FC236}">
                <a16:creationId xmlns:a16="http://schemas.microsoft.com/office/drawing/2014/main" id="{B214D82A-80E1-4EEF-44DF-7905F97A8F55}"/>
              </a:ext>
            </a:extLst>
          </p:cNvPr>
          <p:cNvSpPr txBox="1"/>
          <p:nvPr/>
        </p:nvSpPr>
        <p:spPr>
          <a:xfrm>
            <a:off x="6952545" y="4800746"/>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3819390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41BB6-A5A0-5B2D-AB69-72F24BDAF185}"/>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B69A582C-3AFE-52EC-4BC8-509A9B1E78A4}"/>
              </a:ext>
            </a:extLst>
          </p:cNvPr>
          <p:cNvSpPr>
            <a:spLocks noGrp="1"/>
          </p:cNvSpPr>
          <p:nvPr>
            <p:ph type="chart" sz="quarter" idx="21"/>
          </p:nvPr>
        </p:nvSpPr>
        <p:spPr>
          <a:xfrm>
            <a:off x="6527124" y="1880466"/>
            <a:ext cx="5130051" cy="4455725"/>
          </a:xfrm>
        </p:spPr>
        <p:txBody>
          <a:bodyPr/>
          <a:lstStyle/>
          <a:p>
            <a:r>
              <a:rPr lang="ar-SA" dirty="0"/>
              <a:t>لوحة الأداء الخاصة بالأداء الاستراتيجي لوزارة </a:t>
            </a:r>
            <a:br>
              <a:rPr lang="en-US" dirty="0"/>
            </a:br>
            <a:r>
              <a:rPr lang="ar-SA" dirty="0"/>
              <a:t>الحرس الوطني ( استراتيجي ).</a:t>
            </a:r>
          </a:p>
          <a:p>
            <a:pPr marL="342900" indent="-342900">
              <a:buFont typeface="+mj-lt"/>
              <a:buAutoNum type="arabicPeriod"/>
            </a:pPr>
            <a:r>
              <a:rPr lang="ar-SA" dirty="0"/>
              <a:t>الأداء العام للأهداف الإستراتيجية</a:t>
            </a:r>
          </a:p>
          <a:p>
            <a:pPr marL="342900" indent="-342900">
              <a:buFont typeface="+mj-lt"/>
              <a:buAutoNum type="arabicPeriod"/>
            </a:pPr>
            <a:r>
              <a:rPr lang="ar-SA" dirty="0"/>
              <a:t>المؤشرات الإستراتيجية</a:t>
            </a:r>
          </a:p>
          <a:p>
            <a:pPr marL="342900" indent="-342900">
              <a:buFont typeface="+mj-lt"/>
              <a:buAutoNum type="arabicPeriod"/>
            </a:pPr>
            <a:r>
              <a:rPr lang="ar-SA" dirty="0"/>
              <a:t>البرامج والمبادرات</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r>
              <a:rPr lang="ar-SA" dirty="0"/>
              <a:t>ملاحظه هذه ليست لوحة الأداء بكامل التفاصيل</a:t>
            </a:r>
            <a:endParaRPr lang="en-US" dirty="0"/>
          </a:p>
          <a:p>
            <a:endParaRPr lang="ar-SA" dirty="0"/>
          </a:p>
          <a:p>
            <a:pPr marL="342900" indent="-342900">
              <a:buFont typeface="+mj-lt"/>
              <a:buAutoNum type="arabicPeriod"/>
            </a:pPr>
            <a:endParaRPr lang="ar-SA"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5F871C5F-1EF2-684C-8227-506004ABCBC9}"/>
              </a:ext>
            </a:extLst>
          </p:cNvPr>
          <p:cNvSpPr>
            <a:spLocks noGrp="1"/>
          </p:cNvSpPr>
          <p:nvPr>
            <p:ph type="sldNum" sz="quarter" idx="4"/>
          </p:nvPr>
        </p:nvSpPr>
        <p:spPr/>
        <p:txBody>
          <a:bodyPr/>
          <a:lstStyle/>
          <a:p>
            <a:fld id="{E75C2C89-F887-4946-9289-77479B29E3CB}" type="slidenum">
              <a:rPr lang="en-US" smtClean="0"/>
              <a:pPr/>
              <a:t>27</a:t>
            </a:fld>
            <a:endParaRPr lang="en-US"/>
          </a:p>
        </p:txBody>
      </p:sp>
      <p:sp>
        <p:nvSpPr>
          <p:cNvPr id="7" name="Text Placeholder 6">
            <a:extLst>
              <a:ext uri="{FF2B5EF4-FFF2-40B4-BE49-F238E27FC236}">
                <a16:creationId xmlns:a16="http://schemas.microsoft.com/office/drawing/2014/main" id="{7E9AEBF0-019A-EE5A-F6B4-31D37E01BD08}"/>
              </a:ext>
            </a:extLst>
          </p:cNvPr>
          <p:cNvSpPr>
            <a:spLocks noGrp="1"/>
          </p:cNvSpPr>
          <p:nvPr>
            <p:ph type="body" sz="quarter" idx="24"/>
          </p:nvPr>
        </p:nvSpPr>
        <p:spPr/>
        <p:txBody>
          <a:bodyPr/>
          <a:lstStyle/>
          <a:p>
            <a:r>
              <a:rPr lang="ar-SA" dirty="0"/>
              <a:t>الأداء الاستراتيجي لوزارة الحرس الوطني ( استراتيجي )</a:t>
            </a:r>
            <a:endParaRPr lang="en-US" dirty="0"/>
          </a:p>
          <a:p>
            <a:endParaRPr lang="en-US" dirty="0"/>
          </a:p>
        </p:txBody>
      </p:sp>
      <p:sp>
        <p:nvSpPr>
          <p:cNvPr id="8" name="Title 7">
            <a:extLst>
              <a:ext uri="{FF2B5EF4-FFF2-40B4-BE49-F238E27FC236}">
                <a16:creationId xmlns:a16="http://schemas.microsoft.com/office/drawing/2014/main" id="{CC3C8A7A-D874-375D-3396-D0A41B4AA438}"/>
              </a:ext>
            </a:extLst>
          </p:cNvPr>
          <p:cNvSpPr>
            <a:spLocks noGrp="1"/>
          </p:cNvSpPr>
          <p:nvPr>
            <p:ph type="title"/>
          </p:nvPr>
        </p:nvSpPr>
        <p:spPr/>
        <p:txBody>
          <a:bodyPr/>
          <a:lstStyle/>
          <a:p>
            <a:r>
              <a:rPr lang="ar-SA" dirty="0"/>
              <a:t>لوحة أداء</a:t>
            </a:r>
            <a:endParaRPr lang="en-US" dirty="0"/>
          </a:p>
        </p:txBody>
      </p:sp>
      <p:sp>
        <p:nvSpPr>
          <p:cNvPr id="21" name="Rectangle: Rounded Corners 20">
            <a:extLst>
              <a:ext uri="{FF2B5EF4-FFF2-40B4-BE49-F238E27FC236}">
                <a16:creationId xmlns:a16="http://schemas.microsoft.com/office/drawing/2014/main" id="{37990283-7D06-A37C-1A06-1F997396315C}"/>
              </a:ext>
            </a:extLst>
          </p:cNvPr>
          <p:cNvSpPr/>
          <p:nvPr/>
        </p:nvSpPr>
        <p:spPr>
          <a:xfrm>
            <a:off x="5701962" y="4011809"/>
            <a:ext cx="345440" cy="193040"/>
          </a:xfrm>
          <a:prstGeom prst="roundRect">
            <a:avLst/>
          </a:prstGeom>
          <a:solidFill>
            <a:srgbClr val="254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200" dirty="0"/>
              <a:t>3</a:t>
            </a:r>
            <a:endParaRPr lang="en-US" sz="1200" dirty="0"/>
          </a:p>
        </p:txBody>
      </p:sp>
      <p:grpSp>
        <p:nvGrpSpPr>
          <p:cNvPr id="9" name="Group 8">
            <a:extLst>
              <a:ext uri="{FF2B5EF4-FFF2-40B4-BE49-F238E27FC236}">
                <a16:creationId xmlns:a16="http://schemas.microsoft.com/office/drawing/2014/main" id="{67C1C199-B47A-D935-14B6-552F38E74355}"/>
              </a:ext>
            </a:extLst>
          </p:cNvPr>
          <p:cNvGrpSpPr/>
          <p:nvPr/>
        </p:nvGrpSpPr>
        <p:grpSpPr>
          <a:xfrm>
            <a:off x="534825" y="1589003"/>
            <a:ext cx="7086020" cy="4840066"/>
            <a:chOff x="526360" y="1847871"/>
            <a:chExt cx="5939465" cy="4056918"/>
          </a:xfrm>
        </p:grpSpPr>
        <p:pic>
          <p:nvPicPr>
            <p:cNvPr id="10" name="Picture 9">
              <a:extLst>
                <a:ext uri="{FF2B5EF4-FFF2-40B4-BE49-F238E27FC236}">
                  <a16:creationId xmlns:a16="http://schemas.microsoft.com/office/drawing/2014/main" id="{B7BE3249-E540-332E-6A38-8C0F06A5BE0E}"/>
                </a:ext>
              </a:extLst>
            </p:cNvPr>
            <p:cNvPicPr>
              <a:picLocks noChangeAspect="1"/>
            </p:cNvPicPr>
            <p:nvPr/>
          </p:nvPicPr>
          <p:blipFill>
            <a:blip r:embed="rId2"/>
            <a:stretch>
              <a:fillRect/>
            </a:stretch>
          </p:blipFill>
          <p:spPr>
            <a:xfrm>
              <a:off x="543288" y="1847871"/>
              <a:ext cx="5922537" cy="2696580"/>
            </a:xfrm>
            <a:prstGeom prst="rect">
              <a:avLst/>
            </a:prstGeom>
          </p:spPr>
        </p:pic>
        <p:pic>
          <p:nvPicPr>
            <p:cNvPr id="16" name="Picture 15">
              <a:extLst>
                <a:ext uri="{FF2B5EF4-FFF2-40B4-BE49-F238E27FC236}">
                  <a16:creationId xmlns:a16="http://schemas.microsoft.com/office/drawing/2014/main" id="{F75CF506-9493-1DFE-53A2-92505BD9A8AD}"/>
                </a:ext>
              </a:extLst>
            </p:cNvPr>
            <p:cNvPicPr>
              <a:picLocks noChangeAspect="1"/>
            </p:cNvPicPr>
            <p:nvPr/>
          </p:nvPicPr>
          <p:blipFill>
            <a:blip r:embed="rId3"/>
            <a:stretch>
              <a:fillRect/>
            </a:stretch>
          </p:blipFill>
          <p:spPr>
            <a:xfrm>
              <a:off x="526360" y="4544451"/>
              <a:ext cx="5937603" cy="1360338"/>
            </a:xfrm>
            <a:prstGeom prst="rect">
              <a:avLst/>
            </a:prstGeom>
          </p:spPr>
        </p:pic>
      </p:grpSp>
      <p:sp>
        <p:nvSpPr>
          <p:cNvPr id="13" name="Free-form: Shape 12">
            <a:extLst>
              <a:ext uri="{FF2B5EF4-FFF2-40B4-BE49-F238E27FC236}">
                <a16:creationId xmlns:a16="http://schemas.microsoft.com/office/drawing/2014/main" id="{6D742297-A1CB-7EE0-3581-5E35D9C5A331}"/>
              </a:ext>
            </a:extLst>
          </p:cNvPr>
          <p:cNvSpPr/>
          <p:nvPr/>
        </p:nvSpPr>
        <p:spPr>
          <a:xfrm>
            <a:off x="555021" y="1589003"/>
            <a:ext cx="7083799" cy="4840066"/>
          </a:xfrm>
          <a:custGeom>
            <a:avLst/>
            <a:gdLst>
              <a:gd name="connsiteX0" fmla="*/ 239936 w 7083799"/>
              <a:gd name="connsiteY0" fmla="*/ 3447933 h 4840066"/>
              <a:gd name="connsiteX1" fmla="*/ 11756 w 7083799"/>
              <a:gd name="connsiteY1" fmla="*/ 3676113 h 4840066"/>
              <a:gd name="connsiteX2" fmla="*/ 11756 w 7083799"/>
              <a:gd name="connsiteY2" fmla="*/ 4588808 h 4840066"/>
              <a:gd name="connsiteX3" fmla="*/ 239936 w 7083799"/>
              <a:gd name="connsiteY3" fmla="*/ 4816988 h 4840066"/>
              <a:gd name="connsiteX4" fmla="*/ 6849399 w 7083799"/>
              <a:gd name="connsiteY4" fmla="*/ 4816988 h 4840066"/>
              <a:gd name="connsiteX5" fmla="*/ 7077579 w 7083799"/>
              <a:gd name="connsiteY5" fmla="*/ 4588808 h 4840066"/>
              <a:gd name="connsiteX6" fmla="*/ 7077579 w 7083799"/>
              <a:gd name="connsiteY6" fmla="*/ 3676113 h 4840066"/>
              <a:gd name="connsiteX7" fmla="*/ 6849399 w 7083799"/>
              <a:gd name="connsiteY7" fmla="*/ 3447933 h 4840066"/>
              <a:gd name="connsiteX8" fmla="*/ 232180 w 7083799"/>
              <a:gd name="connsiteY8" fmla="*/ 1848073 h 4840066"/>
              <a:gd name="connsiteX9" fmla="*/ 4000 w 7083799"/>
              <a:gd name="connsiteY9" fmla="*/ 2076253 h 4840066"/>
              <a:gd name="connsiteX10" fmla="*/ 4000 w 7083799"/>
              <a:gd name="connsiteY10" fmla="*/ 2988948 h 4840066"/>
              <a:gd name="connsiteX11" fmla="*/ 232180 w 7083799"/>
              <a:gd name="connsiteY11" fmla="*/ 3217128 h 4840066"/>
              <a:gd name="connsiteX12" fmla="*/ 6841643 w 7083799"/>
              <a:gd name="connsiteY12" fmla="*/ 3217128 h 4840066"/>
              <a:gd name="connsiteX13" fmla="*/ 7069823 w 7083799"/>
              <a:gd name="connsiteY13" fmla="*/ 2988948 h 4840066"/>
              <a:gd name="connsiteX14" fmla="*/ 7069823 w 7083799"/>
              <a:gd name="connsiteY14" fmla="*/ 2076253 h 4840066"/>
              <a:gd name="connsiteX15" fmla="*/ 6841643 w 7083799"/>
              <a:gd name="connsiteY15" fmla="*/ 1848073 h 4840066"/>
              <a:gd name="connsiteX16" fmla="*/ 236621 w 7083799"/>
              <a:gd name="connsiteY16" fmla="*/ 245812 h 4840066"/>
              <a:gd name="connsiteX17" fmla="*/ 8441 w 7083799"/>
              <a:gd name="connsiteY17" fmla="*/ 473992 h 4840066"/>
              <a:gd name="connsiteX18" fmla="*/ 8441 w 7083799"/>
              <a:gd name="connsiteY18" fmla="*/ 1386687 h 4840066"/>
              <a:gd name="connsiteX19" fmla="*/ 236621 w 7083799"/>
              <a:gd name="connsiteY19" fmla="*/ 1614867 h 4840066"/>
              <a:gd name="connsiteX20" fmla="*/ 6846084 w 7083799"/>
              <a:gd name="connsiteY20" fmla="*/ 1614867 h 4840066"/>
              <a:gd name="connsiteX21" fmla="*/ 7074264 w 7083799"/>
              <a:gd name="connsiteY21" fmla="*/ 1386687 h 4840066"/>
              <a:gd name="connsiteX22" fmla="*/ 7074264 w 7083799"/>
              <a:gd name="connsiteY22" fmla="*/ 473992 h 4840066"/>
              <a:gd name="connsiteX23" fmla="*/ 6846084 w 7083799"/>
              <a:gd name="connsiteY23" fmla="*/ 245812 h 4840066"/>
              <a:gd name="connsiteX24" fmla="*/ 0 w 7083799"/>
              <a:gd name="connsiteY24" fmla="*/ 0 h 4840066"/>
              <a:gd name="connsiteX25" fmla="*/ 7083799 w 7083799"/>
              <a:gd name="connsiteY25" fmla="*/ 0 h 4840066"/>
              <a:gd name="connsiteX26" fmla="*/ 7083799 w 7083799"/>
              <a:gd name="connsiteY26" fmla="*/ 4840066 h 4840066"/>
              <a:gd name="connsiteX27" fmla="*/ 0 w 7083799"/>
              <a:gd name="connsiteY27" fmla="*/ 4840066 h 484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083799" h="4840066">
                <a:moveTo>
                  <a:pt x="239936" y="3447933"/>
                </a:moveTo>
                <a:cubicBezTo>
                  <a:pt x="113916" y="3447933"/>
                  <a:pt x="11756" y="3550093"/>
                  <a:pt x="11756" y="3676113"/>
                </a:cubicBezTo>
                <a:lnTo>
                  <a:pt x="11756" y="4588808"/>
                </a:lnTo>
                <a:cubicBezTo>
                  <a:pt x="11756" y="4714828"/>
                  <a:pt x="113916" y="4816988"/>
                  <a:pt x="239936" y="4816988"/>
                </a:cubicBezTo>
                <a:lnTo>
                  <a:pt x="6849399" y="4816988"/>
                </a:lnTo>
                <a:cubicBezTo>
                  <a:pt x="6975419" y="4816988"/>
                  <a:pt x="7077579" y="4714828"/>
                  <a:pt x="7077579" y="4588808"/>
                </a:cubicBezTo>
                <a:lnTo>
                  <a:pt x="7077579" y="3676113"/>
                </a:lnTo>
                <a:cubicBezTo>
                  <a:pt x="7077579" y="3550093"/>
                  <a:pt x="6975419" y="3447933"/>
                  <a:pt x="6849399" y="3447933"/>
                </a:cubicBezTo>
                <a:close/>
                <a:moveTo>
                  <a:pt x="232180" y="1848073"/>
                </a:moveTo>
                <a:cubicBezTo>
                  <a:pt x="106160" y="1848073"/>
                  <a:pt x="4000" y="1950233"/>
                  <a:pt x="4000" y="2076253"/>
                </a:cubicBezTo>
                <a:lnTo>
                  <a:pt x="4000" y="2988948"/>
                </a:lnTo>
                <a:cubicBezTo>
                  <a:pt x="4000" y="3114968"/>
                  <a:pt x="106160" y="3217128"/>
                  <a:pt x="232180" y="3217128"/>
                </a:cubicBezTo>
                <a:lnTo>
                  <a:pt x="6841643" y="3217128"/>
                </a:lnTo>
                <a:cubicBezTo>
                  <a:pt x="6967663" y="3217128"/>
                  <a:pt x="7069823" y="3114968"/>
                  <a:pt x="7069823" y="2988948"/>
                </a:cubicBezTo>
                <a:lnTo>
                  <a:pt x="7069823" y="2076253"/>
                </a:lnTo>
                <a:cubicBezTo>
                  <a:pt x="7069823" y="1950233"/>
                  <a:pt x="6967663" y="1848073"/>
                  <a:pt x="6841643" y="1848073"/>
                </a:cubicBezTo>
                <a:close/>
                <a:moveTo>
                  <a:pt x="236621" y="245812"/>
                </a:moveTo>
                <a:cubicBezTo>
                  <a:pt x="110601" y="245812"/>
                  <a:pt x="8441" y="347972"/>
                  <a:pt x="8441" y="473992"/>
                </a:cubicBezTo>
                <a:lnTo>
                  <a:pt x="8441" y="1386687"/>
                </a:lnTo>
                <a:cubicBezTo>
                  <a:pt x="8441" y="1512707"/>
                  <a:pt x="110601" y="1614867"/>
                  <a:pt x="236621" y="1614867"/>
                </a:cubicBezTo>
                <a:lnTo>
                  <a:pt x="6846084" y="1614867"/>
                </a:lnTo>
                <a:cubicBezTo>
                  <a:pt x="6972104" y="1614867"/>
                  <a:pt x="7074264" y="1512707"/>
                  <a:pt x="7074264" y="1386687"/>
                </a:cubicBezTo>
                <a:lnTo>
                  <a:pt x="7074264" y="473992"/>
                </a:lnTo>
                <a:cubicBezTo>
                  <a:pt x="7074264" y="347972"/>
                  <a:pt x="6972104" y="245812"/>
                  <a:pt x="6846084" y="245812"/>
                </a:cubicBezTo>
                <a:close/>
                <a:moveTo>
                  <a:pt x="0" y="0"/>
                </a:moveTo>
                <a:lnTo>
                  <a:pt x="7083799" y="0"/>
                </a:lnTo>
                <a:lnTo>
                  <a:pt x="7083799" y="4840066"/>
                </a:lnTo>
                <a:lnTo>
                  <a:pt x="0" y="4840066"/>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extBox 13">
            <a:extLst>
              <a:ext uri="{FF2B5EF4-FFF2-40B4-BE49-F238E27FC236}">
                <a16:creationId xmlns:a16="http://schemas.microsoft.com/office/drawing/2014/main" id="{4A6B8109-ADBF-1F7B-B269-78268A677066}"/>
              </a:ext>
            </a:extLst>
          </p:cNvPr>
          <p:cNvSpPr txBox="1"/>
          <p:nvPr/>
        </p:nvSpPr>
        <p:spPr>
          <a:xfrm>
            <a:off x="6462506" y="1599715"/>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5" name="TextBox 14">
            <a:extLst>
              <a:ext uri="{FF2B5EF4-FFF2-40B4-BE49-F238E27FC236}">
                <a16:creationId xmlns:a16="http://schemas.microsoft.com/office/drawing/2014/main" id="{6F7C2175-1292-53A1-CAA0-54D78B0DF1BE}"/>
              </a:ext>
            </a:extLst>
          </p:cNvPr>
          <p:cNvSpPr txBox="1"/>
          <p:nvPr/>
        </p:nvSpPr>
        <p:spPr>
          <a:xfrm>
            <a:off x="6651532" y="3197567"/>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7" name="TextBox 16">
            <a:extLst>
              <a:ext uri="{FF2B5EF4-FFF2-40B4-BE49-F238E27FC236}">
                <a16:creationId xmlns:a16="http://schemas.microsoft.com/office/drawing/2014/main" id="{6D7E7D75-4CB9-F384-0CD8-DB6F4C9134A8}"/>
              </a:ext>
            </a:extLst>
          </p:cNvPr>
          <p:cNvSpPr txBox="1"/>
          <p:nvPr/>
        </p:nvSpPr>
        <p:spPr>
          <a:xfrm>
            <a:off x="6825704" y="4806131"/>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26713523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4D457-E054-82B8-3726-0A973AE80568}"/>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6DFA0EA6-B70C-1D52-6B65-7EC66D4370A5}"/>
              </a:ext>
            </a:extLst>
          </p:cNvPr>
          <p:cNvSpPr>
            <a:spLocks noGrp="1"/>
          </p:cNvSpPr>
          <p:nvPr>
            <p:ph type="chart" sz="quarter" idx="21"/>
          </p:nvPr>
        </p:nvSpPr>
        <p:spPr>
          <a:xfrm>
            <a:off x="6661698" y="1781174"/>
            <a:ext cx="5130051" cy="4455725"/>
          </a:xfrm>
        </p:spPr>
        <p:txBody>
          <a:bodyPr/>
          <a:lstStyle/>
          <a:p>
            <a:r>
              <a:rPr lang="ar-SA" dirty="0"/>
              <a:t>ا لوحة الأداء الخاصة بالأداء التشغيلي لبرنامج تطوير وزارة </a:t>
            </a:r>
            <a:br>
              <a:rPr lang="en-US" dirty="0"/>
            </a:br>
            <a:r>
              <a:rPr lang="ar-SA" dirty="0"/>
              <a:t>الحرس الوطني ( تشغيلي )</a:t>
            </a:r>
          </a:p>
          <a:p>
            <a:endParaRPr lang="ar-SA" dirty="0"/>
          </a:p>
          <a:p>
            <a:pPr marL="342900" indent="-342900">
              <a:buFont typeface="+mj-lt"/>
              <a:buAutoNum type="arabicPeriod"/>
            </a:pPr>
            <a:r>
              <a:rPr lang="ar-SA" dirty="0"/>
              <a:t>الأداء العام للأهداف التشغيلية</a:t>
            </a:r>
          </a:p>
          <a:p>
            <a:pPr marL="342900" indent="-342900">
              <a:buFont typeface="+mj-lt"/>
              <a:buAutoNum type="arabicPeriod"/>
            </a:pPr>
            <a:r>
              <a:rPr lang="ar-SA" dirty="0"/>
              <a:t>المؤشرات التشغيلية</a:t>
            </a:r>
          </a:p>
          <a:p>
            <a:pPr marL="342900" indent="-342900">
              <a:buFont typeface="+mj-lt"/>
              <a:buAutoNum type="arabicPeriod"/>
            </a:pPr>
            <a:r>
              <a:rPr lang="ar-SA" dirty="0"/>
              <a:t>المشاريع</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r>
              <a:rPr lang="ar-SA" dirty="0"/>
              <a:t>ملاحظه هذه ليست لوحة الأداء بكامل التفاصيل</a:t>
            </a:r>
            <a:endParaRPr lang="en-US"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F44E0598-4054-3B6C-9D7C-3E257495BD8B}"/>
              </a:ext>
            </a:extLst>
          </p:cNvPr>
          <p:cNvSpPr>
            <a:spLocks noGrp="1"/>
          </p:cNvSpPr>
          <p:nvPr>
            <p:ph type="sldNum" sz="quarter" idx="4"/>
          </p:nvPr>
        </p:nvSpPr>
        <p:spPr/>
        <p:txBody>
          <a:bodyPr/>
          <a:lstStyle/>
          <a:p>
            <a:fld id="{E75C2C89-F887-4946-9289-77479B29E3CB}" type="slidenum">
              <a:rPr lang="en-US" smtClean="0"/>
              <a:pPr/>
              <a:t>28</a:t>
            </a:fld>
            <a:endParaRPr lang="en-US"/>
          </a:p>
        </p:txBody>
      </p:sp>
      <p:sp>
        <p:nvSpPr>
          <p:cNvPr id="7" name="Text Placeholder 6">
            <a:extLst>
              <a:ext uri="{FF2B5EF4-FFF2-40B4-BE49-F238E27FC236}">
                <a16:creationId xmlns:a16="http://schemas.microsoft.com/office/drawing/2014/main" id="{05A66242-5358-38CF-5EA5-20A84D805D0D}"/>
              </a:ext>
            </a:extLst>
          </p:cNvPr>
          <p:cNvSpPr>
            <a:spLocks noGrp="1"/>
          </p:cNvSpPr>
          <p:nvPr>
            <p:ph type="body" sz="quarter" idx="24"/>
          </p:nvPr>
        </p:nvSpPr>
        <p:spPr/>
        <p:txBody>
          <a:bodyPr/>
          <a:lstStyle/>
          <a:p>
            <a:r>
              <a:rPr lang="ar-SA" dirty="0"/>
              <a:t>الأداء التشغيلي لبرنامج تطوير وزارة الحرس الوطني ( تشغيلي )</a:t>
            </a:r>
            <a:endParaRPr lang="en-US" dirty="0"/>
          </a:p>
          <a:p>
            <a:endParaRPr lang="en-US" dirty="0"/>
          </a:p>
        </p:txBody>
      </p:sp>
      <p:sp>
        <p:nvSpPr>
          <p:cNvPr id="8" name="Title 7">
            <a:extLst>
              <a:ext uri="{FF2B5EF4-FFF2-40B4-BE49-F238E27FC236}">
                <a16:creationId xmlns:a16="http://schemas.microsoft.com/office/drawing/2014/main" id="{9F05F293-F5E0-2214-DCBF-208085E1FD89}"/>
              </a:ext>
            </a:extLst>
          </p:cNvPr>
          <p:cNvSpPr>
            <a:spLocks noGrp="1"/>
          </p:cNvSpPr>
          <p:nvPr>
            <p:ph type="title"/>
          </p:nvPr>
        </p:nvSpPr>
        <p:spPr/>
        <p:txBody>
          <a:bodyPr/>
          <a:lstStyle/>
          <a:p>
            <a:r>
              <a:rPr lang="ar-SA" dirty="0"/>
              <a:t>لوحة أداء</a:t>
            </a:r>
            <a:endParaRPr lang="en-US" dirty="0"/>
          </a:p>
        </p:txBody>
      </p:sp>
      <p:grpSp>
        <p:nvGrpSpPr>
          <p:cNvPr id="2" name="Group 1">
            <a:extLst>
              <a:ext uri="{FF2B5EF4-FFF2-40B4-BE49-F238E27FC236}">
                <a16:creationId xmlns:a16="http://schemas.microsoft.com/office/drawing/2014/main" id="{CB7405F5-3DFC-069A-3B9F-21AFD5D5A75B}"/>
              </a:ext>
            </a:extLst>
          </p:cNvPr>
          <p:cNvGrpSpPr/>
          <p:nvPr/>
        </p:nvGrpSpPr>
        <p:grpSpPr>
          <a:xfrm>
            <a:off x="331038" y="1587363"/>
            <a:ext cx="7067982" cy="4826318"/>
            <a:chOff x="331038" y="1759071"/>
            <a:chExt cx="5923919" cy="4045103"/>
          </a:xfrm>
        </p:grpSpPr>
        <p:pic>
          <p:nvPicPr>
            <p:cNvPr id="4" name="Picture 3">
              <a:extLst>
                <a:ext uri="{FF2B5EF4-FFF2-40B4-BE49-F238E27FC236}">
                  <a16:creationId xmlns:a16="http://schemas.microsoft.com/office/drawing/2014/main" id="{A06828C2-2419-3880-0995-7D1238ED4ED9}"/>
                </a:ext>
              </a:extLst>
            </p:cNvPr>
            <p:cNvPicPr>
              <a:picLocks noChangeAspect="1"/>
            </p:cNvPicPr>
            <p:nvPr/>
          </p:nvPicPr>
          <p:blipFill>
            <a:blip r:embed="rId2"/>
            <a:stretch>
              <a:fillRect/>
            </a:stretch>
          </p:blipFill>
          <p:spPr>
            <a:xfrm>
              <a:off x="331038" y="1759071"/>
              <a:ext cx="5923919" cy="2697016"/>
            </a:xfrm>
            <a:prstGeom prst="rect">
              <a:avLst/>
            </a:prstGeom>
          </p:spPr>
        </p:pic>
        <p:pic>
          <p:nvPicPr>
            <p:cNvPr id="12" name="Picture 11">
              <a:extLst>
                <a:ext uri="{FF2B5EF4-FFF2-40B4-BE49-F238E27FC236}">
                  <a16:creationId xmlns:a16="http://schemas.microsoft.com/office/drawing/2014/main" id="{47BD048C-A38D-5B31-A844-F99B5CF61F0F}"/>
                </a:ext>
              </a:extLst>
            </p:cNvPr>
            <p:cNvPicPr>
              <a:picLocks noChangeAspect="1"/>
            </p:cNvPicPr>
            <p:nvPr/>
          </p:nvPicPr>
          <p:blipFill>
            <a:blip r:embed="rId3"/>
            <a:stretch>
              <a:fillRect/>
            </a:stretch>
          </p:blipFill>
          <p:spPr>
            <a:xfrm>
              <a:off x="339796" y="4456087"/>
              <a:ext cx="5915161" cy="1348087"/>
            </a:xfrm>
            <a:prstGeom prst="rect">
              <a:avLst/>
            </a:prstGeom>
          </p:spPr>
        </p:pic>
      </p:grpSp>
      <p:sp>
        <p:nvSpPr>
          <p:cNvPr id="13" name="Free-form: Shape 12">
            <a:extLst>
              <a:ext uri="{FF2B5EF4-FFF2-40B4-BE49-F238E27FC236}">
                <a16:creationId xmlns:a16="http://schemas.microsoft.com/office/drawing/2014/main" id="{04F39351-711D-2D73-5676-2B19A678E468}"/>
              </a:ext>
            </a:extLst>
          </p:cNvPr>
          <p:cNvSpPr/>
          <p:nvPr/>
        </p:nvSpPr>
        <p:spPr>
          <a:xfrm>
            <a:off x="371367" y="1587363"/>
            <a:ext cx="7064663" cy="4826318"/>
          </a:xfrm>
          <a:custGeom>
            <a:avLst/>
            <a:gdLst>
              <a:gd name="connsiteX0" fmla="*/ 7064663 w 7064663"/>
              <a:gd name="connsiteY0" fmla="*/ 3016481 h 4826318"/>
              <a:gd name="connsiteX1" fmla="*/ 7064663 w 7064663"/>
              <a:gd name="connsiteY1" fmla="*/ 4826318 h 4826318"/>
              <a:gd name="connsiteX2" fmla="*/ 0 w 7064663"/>
              <a:gd name="connsiteY2" fmla="*/ 4826318 h 4826318"/>
              <a:gd name="connsiteX3" fmla="*/ 0 w 7064663"/>
              <a:gd name="connsiteY3" fmla="*/ 4574341 h 4826318"/>
              <a:gd name="connsiteX4" fmla="*/ 16604 w 7064663"/>
              <a:gd name="connsiteY4" fmla="*/ 4656580 h 4826318"/>
              <a:gd name="connsiteX5" fmla="*/ 226852 w 7064663"/>
              <a:gd name="connsiteY5" fmla="*/ 4795942 h 4826318"/>
              <a:gd name="connsiteX6" fmla="*/ 6836315 w 7064663"/>
              <a:gd name="connsiteY6" fmla="*/ 4795942 h 4826318"/>
              <a:gd name="connsiteX7" fmla="*/ 7064495 w 7064663"/>
              <a:gd name="connsiteY7" fmla="*/ 4567762 h 4826318"/>
              <a:gd name="connsiteX8" fmla="*/ 7064495 w 7064663"/>
              <a:gd name="connsiteY8" fmla="*/ 3655067 h 4826318"/>
              <a:gd name="connsiteX9" fmla="*/ 6836315 w 7064663"/>
              <a:gd name="connsiteY9" fmla="*/ 3426887 h 4826318"/>
              <a:gd name="connsiteX10" fmla="*/ 226852 w 7064663"/>
              <a:gd name="connsiteY10" fmla="*/ 3426887 h 4826318"/>
              <a:gd name="connsiteX11" fmla="*/ 16604 w 7064663"/>
              <a:gd name="connsiteY11" fmla="*/ 3566249 h 4826318"/>
              <a:gd name="connsiteX12" fmla="*/ 0 w 7064663"/>
              <a:gd name="connsiteY12" fmla="*/ 3648488 h 4826318"/>
              <a:gd name="connsiteX13" fmla="*/ 0 w 7064663"/>
              <a:gd name="connsiteY13" fmla="*/ 3016490 h 4826318"/>
              <a:gd name="connsiteX14" fmla="*/ 17351 w 7064663"/>
              <a:gd name="connsiteY14" fmla="*/ 3102430 h 4826318"/>
              <a:gd name="connsiteX15" fmla="*/ 227599 w 7064663"/>
              <a:gd name="connsiteY15" fmla="*/ 3241792 h 4826318"/>
              <a:gd name="connsiteX16" fmla="*/ 6837062 w 7064663"/>
              <a:gd name="connsiteY16" fmla="*/ 3241792 h 4826318"/>
              <a:gd name="connsiteX17" fmla="*/ 7047311 w 7064663"/>
              <a:gd name="connsiteY17" fmla="*/ 3102430 h 4826318"/>
              <a:gd name="connsiteX18" fmla="*/ 0 w 7064663"/>
              <a:gd name="connsiteY18" fmla="*/ 0 h 4826318"/>
              <a:gd name="connsiteX19" fmla="*/ 7064663 w 7064663"/>
              <a:gd name="connsiteY19" fmla="*/ 0 h 4826318"/>
              <a:gd name="connsiteX20" fmla="*/ 7064663 w 7064663"/>
              <a:gd name="connsiteY20" fmla="*/ 460413 h 4826318"/>
              <a:gd name="connsiteX21" fmla="*/ 7047456 w 7064663"/>
              <a:gd name="connsiteY21" fmla="*/ 375184 h 4826318"/>
              <a:gd name="connsiteX22" fmla="*/ 6830131 w 7064663"/>
              <a:gd name="connsiteY22" fmla="*/ 231131 h 4826318"/>
              <a:gd name="connsiteX23" fmla="*/ 236028 w 7064663"/>
              <a:gd name="connsiteY23" fmla="*/ 231131 h 4826318"/>
              <a:gd name="connsiteX24" fmla="*/ 168 w 7064663"/>
              <a:gd name="connsiteY24" fmla="*/ 466991 h 4826318"/>
              <a:gd name="connsiteX25" fmla="*/ 168 w 7064663"/>
              <a:gd name="connsiteY25" fmla="*/ 1410400 h 4826318"/>
              <a:gd name="connsiteX26" fmla="*/ 236028 w 7064663"/>
              <a:gd name="connsiteY26" fmla="*/ 1646260 h 4826318"/>
              <a:gd name="connsiteX27" fmla="*/ 6830131 w 7064663"/>
              <a:gd name="connsiteY27" fmla="*/ 1646260 h 4826318"/>
              <a:gd name="connsiteX28" fmla="*/ 7047456 w 7064663"/>
              <a:gd name="connsiteY28" fmla="*/ 1502208 h 4826318"/>
              <a:gd name="connsiteX29" fmla="*/ 7064663 w 7064663"/>
              <a:gd name="connsiteY29" fmla="*/ 1416978 h 4826318"/>
              <a:gd name="connsiteX30" fmla="*/ 7064663 w 7064663"/>
              <a:gd name="connsiteY30" fmla="*/ 2098049 h 4826318"/>
              <a:gd name="connsiteX31" fmla="*/ 7047311 w 7064663"/>
              <a:gd name="connsiteY31" fmla="*/ 2012099 h 4826318"/>
              <a:gd name="connsiteX32" fmla="*/ 6837062 w 7064663"/>
              <a:gd name="connsiteY32" fmla="*/ 1872737 h 4826318"/>
              <a:gd name="connsiteX33" fmla="*/ 227599 w 7064663"/>
              <a:gd name="connsiteY33" fmla="*/ 1872737 h 4826318"/>
              <a:gd name="connsiteX34" fmla="*/ 17351 w 7064663"/>
              <a:gd name="connsiteY34" fmla="*/ 2012099 h 4826318"/>
              <a:gd name="connsiteX35" fmla="*/ 0 w 7064663"/>
              <a:gd name="connsiteY35" fmla="*/ 2098039 h 482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64663" h="4826318">
                <a:moveTo>
                  <a:pt x="7064663" y="3016481"/>
                </a:moveTo>
                <a:lnTo>
                  <a:pt x="7064663" y="4826318"/>
                </a:lnTo>
                <a:lnTo>
                  <a:pt x="0" y="4826318"/>
                </a:lnTo>
                <a:lnTo>
                  <a:pt x="0" y="4574341"/>
                </a:lnTo>
                <a:lnTo>
                  <a:pt x="16604" y="4656580"/>
                </a:lnTo>
                <a:cubicBezTo>
                  <a:pt x="51243" y="4738477"/>
                  <a:pt x="132337" y="4795942"/>
                  <a:pt x="226852" y="4795942"/>
                </a:cubicBezTo>
                <a:lnTo>
                  <a:pt x="6836315" y="4795942"/>
                </a:lnTo>
                <a:cubicBezTo>
                  <a:pt x="6962335" y="4795942"/>
                  <a:pt x="7064495" y="4693782"/>
                  <a:pt x="7064495" y="4567762"/>
                </a:cubicBezTo>
                <a:lnTo>
                  <a:pt x="7064495" y="3655067"/>
                </a:lnTo>
                <a:cubicBezTo>
                  <a:pt x="7064495" y="3529047"/>
                  <a:pt x="6962335" y="3426887"/>
                  <a:pt x="6836315" y="3426887"/>
                </a:cubicBezTo>
                <a:lnTo>
                  <a:pt x="226852" y="3426887"/>
                </a:lnTo>
                <a:cubicBezTo>
                  <a:pt x="132337" y="3426887"/>
                  <a:pt x="51243" y="3484352"/>
                  <a:pt x="16604" y="3566249"/>
                </a:cubicBezTo>
                <a:lnTo>
                  <a:pt x="0" y="3648488"/>
                </a:lnTo>
                <a:lnTo>
                  <a:pt x="0" y="3016490"/>
                </a:lnTo>
                <a:lnTo>
                  <a:pt x="17351" y="3102430"/>
                </a:lnTo>
                <a:cubicBezTo>
                  <a:pt x="51991" y="3184327"/>
                  <a:pt x="133084" y="3241792"/>
                  <a:pt x="227599" y="3241792"/>
                </a:cubicBezTo>
                <a:lnTo>
                  <a:pt x="6837062" y="3241792"/>
                </a:lnTo>
                <a:cubicBezTo>
                  <a:pt x="6931577" y="3241792"/>
                  <a:pt x="7012671" y="3184327"/>
                  <a:pt x="7047311" y="3102430"/>
                </a:cubicBezTo>
                <a:close/>
                <a:moveTo>
                  <a:pt x="0" y="0"/>
                </a:moveTo>
                <a:lnTo>
                  <a:pt x="7064663" y="0"/>
                </a:lnTo>
                <a:lnTo>
                  <a:pt x="7064663" y="460413"/>
                </a:lnTo>
                <a:lnTo>
                  <a:pt x="7047456" y="375184"/>
                </a:lnTo>
                <a:cubicBezTo>
                  <a:pt x="7011651" y="290530"/>
                  <a:pt x="6927828" y="231131"/>
                  <a:pt x="6830131" y="231131"/>
                </a:cubicBezTo>
                <a:lnTo>
                  <a:pt x="236028" y="231131"/>
                </a:lnTo>
                <a:cubicBezTo>
                  <a:pt x="105766" y="231131"/>
                  <a:pt x="168" y="336729"/>
                  <a:pt x="168" y="466991"/>
                </a:cubicBezTo>
                <a:lnTo>
                  <a:pt x="168" y="1410400"/>
                </a:lnTo>
                <a:cubicBezTo>
                  <a:pt x="168" y="1540662"/>
                  <a:pt x="105766" y="1646260"/>
                  <a:pt x="236028" y="1646260"/>
                </a:cubicBezTo>
                <a:lnTo>
                  <a:pt x="6830131" y="1646260"/>
                </a:lnTo>
                <a:cubicBezTo>
                  <a:pt x="6927828" y="1646260"/>
                  <a:pt x="7011651" y="1586861"/>
                  <a:pt x="7047456" y="1502208"/>
                </a:cubicBezTo>
                <a:lnTo>
                  <a:pt x="7064663" y="1416978"/>
                </a:lnTo>
                <a:lnTo>
                  <a:pt x="7064663" y="2098049"/>
                </a:lnTo>
                <a:lnTo>
                  <a:pt x="7047311" y="2012099"/>
                </a:lnTo>
                <a:cubicBezTo>
                  <a:pt x="7012671" y="1930202"/>
                  <a:pt x="6931577" y="1872737"/>
                  <a:pt x="6837062" y="1872737"/>
                </a:cubicBezTo>
                <a:lnTo>
                  <a:pt x="227599" y="1872737"/>
                </a:lnTo>
                <a:cubicBezTo>
                  <a:pt x="133084" y="1872737"/>
                  <a:pt x="51991" y="1930202"/>
                  <a:pt x="17351" y="2012099"/>
                </a:cubicBezTo>
                <a:lnTo>
                  <a:pt x="0" y="209803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extBox 13">
            <a:extLst>
              <a:ext uri="{FF2B5EF4-FFF2-40B4-BE49-F238E27FC236}">
                <a16:creationId xmlns:a16="http://schemas.microsoft.com/office/drawing/2014/main" id="{A65F50B0-DD4A-9E49-C36D-D020119216F0}"/>
              </a:ext>
            </a:extLst>
          </p:cNvPr>
          <p:cNvSpPr txBox="1"/>
          <p:nvPr/>
        </p:nvSpPr>
        <p:spPr>
          <a:xfrm>
            <a:off x="6315630" y="1587363"/>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5" name="TextBox 14">
            <a:extLst>
              <a:ext uri="{FF2B5EF4-FFF2-40B4-BE49-F238E27FC236}">
                <a16:creationId xmlns:a16="http://schemas.microsoft.com/office/drawing/2014/main" id="{D0EFED8E-BDDE-2C39-C742-563BAE1B87F9}"/>
              </a:ext>
            </a:extLst>
          </p:cNvPr>
          <p:cNvSpPr txBox="1"/>
          <p:nvPr/>
        </p:nvSpPr>
        <p:spPr>
          <a:xfrm>
            <a:off x="6597080" y="3219086"/>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6" name="TextBox 15">
            <a:extLst>
              <a:ext uri="{FF2B5EF4-FFF2-40B4-BE49-F238E27FC236}">
                <a16:creationId xmlns:a16="http://schemas.microsoft.com/office/drawing/2014/main" id="{2AE5FB5F-B364-C673-FDAC-5BA1AE8E4B0E}"/>
              </a:ext>
            </a:extLst>
          </p:cNvPr>
          <p:cNvSpPr txBox="1"/>
          <p:nvPr/>
        </p:nvSpPr>
        <p:spPr>
          <a:xfrm>
            <a:off x="6819484" y="4792851"/>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1298935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078BA-6234-EE9B-E0B5-64C5737D4A20}"/>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B13CC541-5A2A-763D-7442-EED47E6E2459}"/>
              </a:ext>
            </a:extLst>
          </p:cNvPr>
          <p:cNvSpPr>
            <a:spLocks noGrp="1"/>
          </p:cNvSpPr>
          <p:nvPr>
            <p:ph type="chart" sz="quarter" idx="21"/>
          </p:nvPr>
        </p:nvSpPr>
        <p:spPr>
          <a:xfrm>
            <a:off x="6769145" y="1781174"/>
            <a:ext cx="5130051" cy="4455725"/>
          </a:xfrm>
        </p:spPr>
        <p:txBody>
          <a:bodyPr/>
          <a:lstStyle/>
          <a:p>
            <a:r>
              <a:rPr lang="ar-SA" dirty="0"/>
              <a:t>لوحة الأداء الخاصة بالأداء التشغيلي لوزارة الحرس الوطني ( تشغيلي )</a:t>
            </a:r>
          </a:p>
          <a:p>
            <a:endParaRPr lang="ar-SA" dirty="0"/>
          </a:p>
          <a:p>
            <a:pPr marL="342900" indent="-342900">
              <a:buFont typeface="+mj-lt"/>
              <a:buAutoNum type="arabicPeriod"/>
            </a:pPr>
            <a:r>
              <a:rPr lang="ar-SA" dirty="0"/>
              <a:t>الأداء العام للأهداف التشغيلية</a:t>
            </a:r>
          </a:p>
          <a:p>
            <a:pPr marL="342900" indent="-342900">
              <a:buFont typeface="+mj-lt"/>
              <a:buAutoNum type="arabicPeriod"/>
            </a:pPr>
            <a:r>
              <a:rPr lang="ar-SA" dirty="0"/>
              <a:t>المؤشرات التشغيلية</a:t>
            </a:r>
          </a:p>
          <a:p>
            <a:pPr marL="342900" indent="-342900">
              <a:buFont typeface="+mj-lt"/>
              <a:buAutoNum type="arabicPeriod"/>
            </a:pPr>
            <a:r>
              <a:rPr lang="ar-SA" dirty="0"/>
              <a:t>البرامج والمبادرات</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ar-SA" dirty="0"/>
          </a:p>
          <a:p>
            <a:r>
              <a:rPr lang="ar-SA" dirty="0"/>
              <a:t>ملاحظه هذه ليست لوحة الأداء بكامل التفاصيل</a:t>
            </a:r>
            <a:endParaRPr lang="en-US"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CE77F35C-0A75-1E40-5795-2F41D04CC748}"/>
              </a:ext>
            </a:extLst>
          </p:cNvPr>
          <p:cNvSpPr>
            <a:spLocks noGrp="1"/>
          </p:cNvSpPr>
          <p:nvPr>
            <p:ph type="sldNum" sz="quarter" idx="4"/>
          </p:nvPr>
        </p:nvSpPr>
        <p:spPr/>
        <p:txBody>
          <a:bodyPr/>
          <a:lstStyle/>
          <a:p>
            <a:fld id="{E75C2C89-F887-4946-9289-77479B29E3CB}" type="slidenum">
              <a:rPr lang="en-US" smtClean="0"/>
              <a:pPr/>
              <a:t>29</a:t>
            </a:fld>
            <a:endParaRPr lang="en-US"/>
          </a:p>
        </p:txBody>
      </p:sp>
      <p:sp>
        <p:nvSpPr>
          <p:cNvPr id="7" name="Text Placeholder 6">
            <a:extLst>
              <a:ext uri="{FF2B5EF4-FFF2-40B4-BE49-F238E27FC236}">
                <a16:creationId xmlns:a16="http://schemas.microsoft.com/office/drawing/2014/main" id="{B10519C0-078D-5F53-964D-4CB874109FFF}"/>
              </a:ext>
            </a:extLst>
          </p:cNvPr>
          <p:cNvSpPr>
            <a:spLocks noGrp="1"/>
          </p:cNvSpPr>
          <p:nvPr>
            <p:ph type="body" sz="quarter" idx="24"/>
          </p:nvPr>
        </p:nvSpPr>
        <p:spPr/>
        <p:txBody>
          <a:bodyPr/>
          <a:lstStyle/>
          <a:p>
            <a:r>
              <a:rPr lang="ar-SA" dirty="0"/>
              <a:t>الأداء التشغيلي لوزارة الحرس الوطني ( تشغيلي )</a:t>
            </a:r>
            <a:endParaRPr lang="en-US" dirty="0"/>
          </a:p>
          <a:p>
            <a:endParaRPr lang="en-US" dirty="0"/>
          </a:p>
        </p:txBody>
      </p:sp>
      <p:sp>
        <p:nvSpPr>
          <p:cNvPr id="8" name="Title 7">
            <a:extLst>
              <a:ext uri="{FF2B5EF4-FFF2-40B4-BE49-F238E27FC236}">
                <a16:creationId xmlns:a16="http://schemas.microsoft.com/office/drawing/2014/main" id="{634E6E5C-CC74-1873-22AA-775B59C5DCAE}"/>
              </a:ext>
            </a:extLst>
          </p:cNvPr>
          <p:cNvSpPr>
            <a:spLocks noGrp="1"/>
          </p:cNvSpPr>
          <p:nvPr>
            <p:ph type="title"/>
          </p:nvPr>
        </p:nvSpPr>
        <p:spPr>
          <a:xfrm>
            <a:off x="534825" y="234829"/>
            <a:ext cx="10936449" cy="334099"/>
          </a:xfrm>
        </p:spPr>
        <p:txBody>
          <a:bodyPr/>
          <a:lstStyle/>
          <a:p>
            <a:r>
              <a:rPr lang="ar-SA" dirty="0"/>
              <a:t>لوحة أداء</a:t>
            </a:r>
            <a:endParaRPr lang="en-US" dirty="0"/>
          </a:p>
        </p:txBody>
      </p:sp>
      <p:grpSp>
        <p:nvGrpSpPr>
          <p:cNvPr id="2" name="Group 1">
            <a:extLst>
              <a:ext uri="{FF2B5EF4-FFF2-40B4-BE49-F238E27FC236}">
                <a16:creationId xmlns:a16="http://schemas.microsoft.com/office/drawing/2014/main" id="{6C41945B-ADFE-7F89-248F-8B1A7A2ED6EC}"/>
              </a:ext>
            </a:extLst>
          </p:cNvPr>
          <p:cNvGrpSpPr/>
          <p:nvPr/>
        </p:nvGrpSpPr>
        <p:grpSpPr>
          <a:xfrm>
            <a:off x="292804" y="1640881"/>
            <a:ext cx="7040869" cy="4769417"/>
            <a:chOff x="292805" y="1759758"/>
            <a:chExt cx="5962152" cy="4038704"/>
          </a:xfrm>
        </p:grpSpPr>
        <p:pic>
          <p:nvPicPr>
            <p:cNvPr id="4" name="Picture 3">
              <a:extLst>
                <a:ext uri="{FF2B5EF4-FFF2-40B4-BE49-F238E27FC236}">
                  <a16:creationId xmlns:a16="http://schemas.microsoft.com/office/drawing/2014/main" id="{CEBAE236-3761-491E-E90B-8C8E3F91311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331038" y="1759758"/>
              <a:ext cx="5923919" cy="2695642"/>
            </a:xfrm>
            <a:prstGeom prst="rect">
              <a:avLst/>
            </a:prstGeom>
          </p:spPr>
        </p:pic>
        <p:pic>
          <p:nvPicPr>
            <p:cNvPr id="12" name="Picture 11">
              <a:extLst>
                <a:ext uri="{FF2B5EF4-FFF2-40B4-BE49-F238E27FC236}">
                  <a16:creationId xmlns:a16="http://schemas.microsoft.com/office/drawing/2014/main" id="{7A16CD3D-80EC-C8C3-7C43-E0BAE9D5F8A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92805" y="4455400"/>
              <a:ext cx="5962152" cy="1343062"/>
            </a:xfrm>
            <a:prstGeom prst="rect">
              <a:avLst/>
            </a:prstGeom>
          </p:spPr>
        </p:pic>
      </p:grpSp>
      <p:sp>
        <p:nvSpPr>
          <p:cNvPr id="14" name="Free-form: Shape 13">
            <a:extLst>
              <a:ext uri="{FF2B5EF4-FFF2-40B4-BE49-F238E27FC236}">
                <a16:creationId xmlns:a16="http://schemas.microsoft.com/office/drawing/2014/main" id="{3C5BC9F1-5623-A4CB-C0BE-ECCA9C58B409}"/>
              </a:ext>
            </a:extLst>
          </p:cNvPr>
          <p:cNvSpPr/>
          <p:nvPr/>
        </p:nvSpPr>
        <p:spPr>
          <a:xfrm>
            <a:off x="292804" y="1640881"/>
            <a:ext cx="7040869" cy="4769417"/>
          </a:xfrm>
          <a:custGeom>
            <a:avLst/>
            <a:gdLst>
              <a:gd name="connsiteX0" fmla="*/ 254576 w 7040869"/>
              <a:gd name="connsiteY0" fmla="*/ 3377497 h 4769417"/>
              <a:gd name="connsiteX1" fmla="*/ 26490 w 7040869"/>
              <a:gd name="connsiteY1" fmla="*/ 3605583 h 4769417"/>
              <a:gd name="connsiteX2" fmla="*/ 26490 w 7040869"/>
              <a:gd name="connsiteY2" fmla="*/ 4517901 h 4769417"/>
              <a:gd name="connsiteX3" fmla="*/ 254576 w 7040869"/>
              <a:gd name="connsiteY3" fmla="*/ 4745987 h 4769417"/>
              <a:gd name="connsiteX4" fmla="*/ 6794123 w 7040869"/>
              <a:gd name="connsiteY4" fmla="*/ 4745987 h 4769417"/>
              <a:gd name="connsiteX5" fmla="*/ 7022209 w 7040869"/>
              <a:gd name="connsiteY5" fmla="*/ 4517901 h 4769417"/>
              <a:gd name="connsiteX6" fmla="*/ 7022209 w 7040869"/>
              <a:gd name="connsiteY6" fmla="*/ 3605583 h 4769417"/>
              <a:gd name="connsiteX7" fmla="*/ 6794123 w 7040869"/>
              <a:gd name="connsiteY7" fmla="*/ 3377497 h 4769417"/>
              <a:gd name="connsiteX8" fmla="*/ 254576 w 7040869"/>
              <a:gd name="connsiteY8" fmla="*/ 1802428 h 4769417"/>
              <a:gd name="connsiteX9" fmla="*/ 26490 w 7040869"/>
              <a:gd name="connsiteY9" fmla="*/ 2030514 h 4769417"/>
              <a:gd name="connsiteX10" fmla="*/ 26490 w 7040869"/>
              <a:gd name="connsiteY10" fmla="*/ 2942832 h 4769417"/>
              <a:gd name="connsiteX11" fmla="*/ 254576 w 7040869"/>
              <a:gd name="connsiteY11" fmla="*/ 3170918 h 4769417"/>
              <a:gd name="connsiteX12" fmla="*/ 6794123 w 7040869"/>
              <a:gd name="connsiteY12" fmla="*/ 3170918 h 4769417"/>
              <a:gd name="connsiteX13" fmla="*/ 7022209 w 7040869"/>
              <a:gd name="connsiteY13" fmla="*/ 2942832 h 4769417"/>
              <a:gd name="connsiteX14" fmla="*/ 7022209 w 7040869"/>
              <a:gd name="connsiteY14" fmla="*/ 2030514 h 4769417"/>
              <a:gd name="connsiteX15" fmla="*/ 6794123 w 7040869"/>
              <a:gd name="connsiteY15" fmla="*/ 1802428 h 4769417"/>
              <a:gd name="connsiteX16" fmla="*/ 254576 w 7040869"/>
              <a:gd name="connsiteY16" fmla="*/ 231459 h 4769417"/>
              <a:gd name="connsiteX17" fmla="*/ 26490 w 7040869"/>
              <a:gd name="connsiteY17" fmla="*/ 459545 h 4769417"/>
              <a:gd name="connsiteX18" fmla="*/ 26490 w 7040869"/>
              <a:gd name="connsiteY18" fmla="*/ 1371863 h 4769417"/>
              <a:gd name="connsiteX19" fmla="*/ 254576 w 7040869"/>
              <a:gd name="connsiteY19" fmla="*/ 1599949 h 4769417"/>
              <a:gd name="connsiteX20" fmla="*/ 6794123 w 7040869"/>
              <a:gd name="connsiteY20" fmla="*/ 1599949 h 4769417"/>
              <a:gd name="connsiteX21" fmla="*/ 7022209 w 7040869"/>
              <a:gd name="connsiteY21" fmla="*/ 1371863 h 4769417"/>
              <a:gd name="connsiteX22" fmla="*/ 7022209 w 7040869"/>
              <a:gd name="connsiteY22" fmla="*/ 459545 h 4769417"/>
              <a:gd name="connsiteX23" fmla="*/ 6794123 w 7040869"/>
              <a:gd name="connsiteY23" fmla="*/ 231459 h 4769417"/>
              <a:gd name="connsiteX24" fmla="*/ 0 w 7040869"/>
              <a:gd name="connsiteY24" fmla="*/ 0 h 4769417"/>
              <a:gd name="connsiteX25" fmla="*/ 7040869 w 7040869"/>
              <a:gd name="connsiteY25" fmla="*/ 0 h 4769417"/>
              <a:gd name="connsiteX26" fmla="*/ 7040869 w 7040869"/>
              <a:gd name="connsiteY26" fmla="*/ 4769417 h 4769417"/>
              <a:gd name="connsiteX27" fmla="*/ 0 w 7040869"/>
              <a:gd name="connsiteY27" fmla="*/ 4769417 h 476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040869" h="4769417">
                <a:moveTo>
                  <a:pt x="254576" y="3377497"/>
                </a:moveTo>
                <a:cubicBezTo>
                  <a:pt x="128608" y="3377497"/>
                  <a:pt x="26490" y="3479615"/>
                  <a:pt x="26490" y="3605583"/>
                </a:cubicBezTo>
                <a:lnTo>
                  <a:pt x="26490" y="4517901"/>
                </a:lnTo>
                <a:cubicBezTo>
                  <a:pt x="26490" y="4643869"/>
                  <a:pt x="128608" y="4745987"/>
                  <a:pt x="254576" y="4745987"/>
                </a:cubicBezTo>
                <a:lnTo>
                  <a:pt x="6794123" y="4745987"/>
                </a:lnTo>
                <a:cubicBezTo>
                  <a:pt x="6920091" y="4745987"/>
                  <a:pt x="7022209" y="4643869"/>
                  <a:pt x="7022209" y="4517901"/>
                </a:cubicBezTo>
                <a:lnTo>
                  <a:pt x="7022209" y="3605583"/>
                </a:lnTo>
                <a:cubicBezTo>
                  <a:pt x="7022209" y="3479615"/>
                  <a:pt x="6920091" y="3377497"/>
                  <a:pt x="6794123" y="3377497"/>
                </a:cubicBezTo>
                <a:close/>
                <a:moveTo>
                  <a:pt x="254576" y="1802428"/>
                </a:moveTo>
                <a:cubicBezTo>
                  <a:pt x="128608" y="1802428"/>
                  <a:pt x="26490" y="1904546"/>
                  <a:pt x="26490" y="2030514"/>
                </a:cubicBezTo>
                <a:lnTo>
                  <a:pt x="26490" y="2942832"/>
                </a:lnTo>
                <a:cubicBezTo>
                  <a:pt x="26490" y="3068800"/>
                  <a:pt x="128608" y="3170918"/>
                  <a:pt x="254576" y="3170918"/>
                </a:cubicBezTo>
                <a:lnTo>
                  <a:pt x="6794123" y="3170918"/>
                </a:lnTo>
                <a:cubicBezTo>
                  <a:pt x="6920091" y="3170918"/>
                  <a:pt x="7022209" y="3068800"/>
                  <a:pt x="7022209" y="2942832"/>
                </a:cubicBezTo>
                <a:lnTo>
                  <a:pt x="7022209" y="2030514"/>
                </a:lnTo>
                <a:cubicBezTo>
                  <a:pt x="7022209" y="1904546"/>
                  <a:pt x="6920091" y="1802428"/>
                  <a:pt x="6794123" y="1802428"/>
                </a:cubicBezTo>
                <a:close/>
                <a:moveTo>
                  <a:pt x="254576" y="231459"/>
                </a:moveTo>
                <a:cubicBezTo>
                  <a:pt x="128608" y="231459"/>
                  <a:pt x="26490" y="333577"/>
                  <a:pt x="26490" y="459545"/>
                </a:cubicBezTo>
                <a:lnTo>
                  <a:pt x="26490" y="1371863"/>
                </a:lnTo>
                <a:cubicBezTo>
                  <a:pt x="26490" y="1497831"/>
                  <a:pt x="128608" y="1599949"/>
                  <a:pt x="254576" y="1599949"/>
                </a:cubicBezTo>
                <a:lnTo>
                  <a:pt x="6794123" y="1599949"/>
                </a:lnTo>
                <a:cubicBezTo>
                  <a:pt x="6920091" y="1599949"/>
                  <a:pt x="7022209" y="1497831"/>
                  <a:pt x="7022209" y="1371863"/>
                </a:cubicBezTo>
                <a:lnTo>
                  <a:pt x="7022209" y="459545"/>
                </a:lnTo>
                <a:cubicBezTo>
                  <a:pt x="7022209" y="333577"/>
                  <a:pt x="6920091" y="231459"/>
                  <a:pt x="6794123" y="231459"/>
                </a:cubicBezTo>
                <a:close/>
                <a:moveTo>
                  <a:pt x="0" y="0"/>
                </a:moveTo>
                <a:lnTo>
                  <a:pt x="7040869" y="0"/>
                </a:lnTo>
                <a:lnTo>
                  <a:pt x="7040869" y="4769417"/>
                </a:lnTo>
                <a:lnTo>
                  <a:pt x="0" y="4769417"/>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Box 14">
            <a:extLst>
              <a:ext uri="{FF2B5EF4-FFF2-40B4-BE49-F238E27FC236}">
                <a16:creationId xmlns:a16="http://schemas.microsoft.com/office/drawing/2014/main" id="{1F65252E-68D8-AC5E-D140-BA4E3D682867}"/>
              </a:ext>
            </a:extLst>
          </p:cNvPr>
          <p:cNvSpPr txBox="1"/>
          <p:nvPr/>
        </p:nvSpPr>
        <p:spPr>
          <a:xfrm>
            <a:off x="6240985" y="1640881"/>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6" name="TextBox 15">
            <a:extLst>
              <a:ext uri="{FF2B5EF4-FFF2-40B4-BE49-F238E27FC236}">
                <a16:creationId xmlns:a16="http://schemas.microsoft.com/office/drawing/2014/main" id="{3EE222D8-1887-742B-159B-23E878C19D04}"/>
              </a:ext>
            </a:extLst>
          </p:cNvPr>
          <p:cNvSpPr txBox="1"/>
          <p:nvPr/>
        </p:nvSpPr>
        <p:spPr>
          <a:xfrm>
            <a:off x="6505065" y="3215133"/>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
        <p:nvSpPr>
          <p:cNvPr id="17" name="TextBox 16">
            <a:extLst>
              <a:ext uri="{FF2B5EF4-FFF2-40B4-BE49-F238E27FC236}">
                <a16:creationId xmlns:a16="http://schemas.microsoft.com/office/drawing/2014/main" id="{24019E96-F87D-5F4D-4027-66D84A1E988F}"/>
              </a:ext>
            </a:extLst>
          </p:cNvPr>
          <p:cNvSpPr txBox="1"/>
          <p:nvPr/>
        </p:nvSpPr>
        <p:spPr>
          <a:xfrm>
            <a:off x="6440447" y="4789385"/>
            <a:ext cx="129235" cy="280751"/>
          </a:xfrm>
          <a:prstGeom prst="rect">
            <a:avLst/>
          </a:prstGeom>
        </p:spPr>
        <p:txBody>
          <a:bodyPr vert="horz" wrap="none" lIns="0" tIns="0" rIns="0" bIns="0" rtlCol="0" anchor="t">
            <a:noAutofit/>
          </a:bodyPr>
          <a:lstStyle/>
          <a:p>
            <a:pPr algn="l"/>
            <a:r>
              <a:rPr lang="ar-SA" sz="2000" b="1" dirty="0">
                <a:solidFill>
                  <a:schemeClr val="bg1"/>
                </a:solidFill>
              </a:rPr>
              <a:t>3</a:t>
            </a:r>
            <a:endParaRPr lang="en-US" sz="2000" b="1" dirty="0">
              <a:solidFill>
                <a:schemeClr val="bg1"/>
              </a:solidFill>
            </a:endParaRPr>
          </a:p>
        </p:txBody>
      </p:sp>
    </p:spTree>
    <p:extLst>
      <p:ext uri="{BB962C8B-B14F-4D97-AF65-F5344CB8AC3E}">
        <p14:creationId xmlns:p14="http://schemas.microsoft.com/office/powerpoint/2010/main" val="45701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40212-3498-6A34-A87C-EF0AE1192139}"/>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4519A3EC-4B65-988F-41A2-6E93B9BF1184}"/>
              </a:ext>
            </a:extLst>
          </p:cNvPr>
          <p:cNvSpPr>
            <a:spLocks noGrp="1"/>
          </p:cNvSpPr>
          <p:nvPr>
            <p:ph type="chart" sz="quarter" idx="21"/>
          </p:nvPr>
        </p:nvSpPr>
        <p:spPr>
          <a:xfrm>
            <a:off x="6602477" y="1646815"/>
            <a:ext cx="5130051" cy="4837381"/>
          </a:xfrm>
        </p:spPr>
        <p:txBody>
          <a:bodyPr/>
          <a:lstStyle/>
          <a:p>
            <a:pPr marL="462280" marR="0" lvl="0" indent="-457200" algn="r" defTabSz="150931" rtl="1" eaLnBrk="1" fontAlgn="auto" latinLnBrk="0" hangingPunct="1">
              <a:lnSpc>
                <a:spcPct val="150000"/>
              </a:lnSpc>
              <a:spcBef>
                <a:spcPts val="41"/>
              </a:spcBef>
              <a:spcAft>
                <a:spcPts val="0"/>
              </a:spcAft>
              <a:buClr>
                <a:srgbClr val="0F4E5F"/>
              </a:buClr>
              <a:buSzPct val="100000"/>
              <a:buFont typeface="+mj-lt"/>
              <a:buAutoNum type="arabicPeriod"/>
              <a:tabLst/>
              <a:defRPr sz="2000">
                <a:latin typeface="Roboto Regular"/>
                <a:ea typeface="Roboto Regular"/>
                <a:cs typeface="Roboto Regular"/>
                <a:sym typeface="Roboto Regular"/>
              </a:defRPr>
            </a:pPr>
            <a:r>
              <a:rPr kumimoji="0" lang="ar-SA" sz="2400" b="0" i="0" u="none" strike="noStrike" kern="1200" cap="none" spc="0" normalizeH="0" baseline="0" noProof="0" dirty="0">
                <a:ln>
                  <a:noFill/>
                </a:ln>
                <a:solidFill>
                  <a:srgbClr val="70AD47">
                    <a:lumMod val="50000"/>
                  </a:srgbClr>
                </a:solidFill>
                <a:effectLst/>
                <a:uLnTx/>
                <a:uFillTx/>
                <a:latin typeface="Times New Roman" panose="02020603050405020304" pitchFamily="18" charset="0"/>
                <a:ea typeface="Roboto" panose="02000000000000000000" pitchFamily="2" charset="0"/>
                <a:cs typeface="Times New Roman" panose="02020603050405020304" pitchFamily="18" charset="0"/>
                <a:sym typeface="Roboto Regular"/>
              </a:rPr>
              <a:t>صفحة تسجيل الدخول</a:t>
            </a:r>
            <a:endParaRPr kumimoji="0" lang="ar-EG" sz="2400" b="0" i="0" u="none" strike="noStrike" kern="1200" cap="none" spc="0" normalizeH="0" baseline="0" noProof="0" dirty="0">
              <a:ln>
                <a:noFill/>
              </a:ln>
              <a:solidFill>
                <a:srgbClr val="70AD47">
                  <a:lumMod val="50000"/>
                </a:srgbClr>
              </a:solidFill>
              <a:effectLst/>
              <a:uLnTx/>
              <a:uFillTx/>
              <a:latin typeface="Times New Roman" panose="02020603050405020304" pitchFamily="18" charset="0"/>
              <a:ea typeface="Roboto" panose="02000000000000000000" pitchFamily="2" charset="0"/>
              <a:cs typeface="Times New Roman" panose="02020603050405020304" pitchFamily="18" charset="0"/>
              <a:sym typeface="Roboto Regular"/>
            </a:endParaRPr>
          </a:p>
          <a:p>
            <a:pPr marL="462280" marR="0" lvl="0" indent="-457200" algn="r" defTabSz="150931" rtl="1" eaLnBrk="1" fontAlgn="auto" latinLnBrk="0" hangingPunct="1">
              <a:lnSpc>
                <a:spcPct val="150000"/>
              </a:lnSpc>
              <a:spcBef>
                <a:spcPts val="41"/>
              </a:spcBef>
              <a:spcAft>
                <a:spcPts val="0"/>
              </a:spcAft>
              <a:buClr>
                <a:srgbClr val="0F4E5F"/>
              </a:buClr>
              <a:buSzPct val="100000"/>
              <a:buFont typeface="+mj-lt"/>
              <a:buAutoNum type="arabicPeriod"/>
              <a:tabLst/>
              <a:defRPr sz="2000">
                <a:latin typeface="Roboto Regular"/>
                <a:ea typeface="Roboto Regular"/>
                <a:cs typeface="Roboto Regular"/>
                <a:sym typeface="Roboto Regular"/>
              </a:defRPr>
            </a:pPr>
            <a:r>
              <a:rPr kumimoji="0" lang="ar-EG" sz="2400" b="0" i="0" u="none" strike="noStrike" kern="1200" cap="none" spc="0" normalizeH="0" baseline="0" noProof="0" dirty="0">
                <a:ln>
                  <a:noFill/>
                </a:ln>
                <a:solidFill>
                  <a:srgbClr val="70AD47">
                    <a:lumMod val="50000"/>
                  </a:srgbClr>
                </a:solidFill>
                <a:effectLst/>
                <a:uLnTx/>
                <a:uFillTx/>
                <a:latin typeface="Times New Roman" panose="02020603050405020304" pitchFamily="18" charset="0"/>
                <a:ea typeface="Roboto" panose="02000000000000000000" pitchFamily="2" charset="0"/>
                <a:cs typeface="Times New Roman" panose="02020603050405020304" pitchFamily="18" charset="0"/>
                <a:sym typeface="Roboto Regular"/>
              </a:rPr>
              <a:t>ال</a:t>
            </a:r>
            <a:r>
              <a:rPr kumimoji="0" lang="ar-SA" sz="2400" b="0" i="0" u="none" strike="noStrike" kern="1200" cap="none" spc="0" normalizeH="0" baseline="0" noProof="0" dirty="0">
                <a:ln>
                  <a:noFill/>
                </a:ln>
                <a:solidFill>
                  <a:srgbClr val="70AD47">
                    <a:lumMod val="50000"/>
                  </a:srgbClr>
                </a:solidFill>
                <a:effectLst/>
                <a:uLnTx/>
                <a:uFillTx/>
                <a:latin typeface="Times New Roman" panose="02020603050405020304" pitchFamily="18" charset="0"/>
                <a:ea typeface="Roboto" panose="02000000000000000000" pitchFamily="2" charset="0"/>
                <a:cs typeface="Times New Roman" panose="02020603050405020304" pitchFamily="18" charset="0"/>
                <a:sym typeface="Roboto Regular"/>
              </a:rPr>
              <a:t>صفحة الرئيسية</a:t>
            </a:r>
            <a:endPar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endParaRP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الإستراتيجية</a:t>
            </a: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جميع مؤشرات الأداء</a:t>
            </a: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مركز المهام</a:t>
            </a: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المبادرات</a:t>
            </a: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التقارير</a:t>
            </a:r>
          </a:p>
          <a:p>
            <a:pPr marL="462280" indent="-457200" defTabSz="150931">
              <a:lnSpc>
                <a:spcPct val="150000"/>
              </a:lnSpc>
              <a:spcBef>
                <a:spcPts val="41"/>
              </a:spcBef>
              <a:buClr>
                <a:srgbClr val="0F4E5F"/>
              </a:buClr>
              <a:buSzPct val="100000"/>
              <a:buFont typeface="+mj-lt"/>
              <a:buAutoNum type="arabicPeriod"/>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لوحة أداء</a:t>
            </a:r>
            <a:endParaRPr lang="ar-EG"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endParaRPr>
          </a:p>
          <a:p>
            <a:pPr marL="462280" marR="0" lvl="0" indent="-457200" algn="r" defTabSz="150931" rtl="1" eaLnBrk="1" fontAlgn="auto" latinLnBrk="0" hangingPunct="1">
              <a:lnSpc>
                <a:spcPct val="150000"/>
              </a:lnSpc>
              <a:spcBef>
                <a:spcPts val="41"/>
              </a:spcBef>
              <a:spcAft>
                <a:spcPts val="0"/>
              </a:spcAft>
              <a:buClr>
                <a:srgbClr val="0F4E5F"/>
              </a:buClr>
              <a:buSzPct val="100000"/>
              <a:buFont typeface="+mj-lt"/>
              <a:buAutoNum type="arabicPeriod"/>
              <a:tabLst/>
              <a:defRPr sz="2000">
                <a:latin typeface="Roboto Regular"/>
                <a:ea typeface="Roboto Regular"/>
                <a:cs typeface="Roboto Regular"/>
                <a:sym typeface="Roboto Regular"/>
              </a:defRPr>
            </a:pPr>
            <a:r>
              <a:rPr lang="ar-SA" sz="2400" dirty="0">
                <a:solidFill>
                  <a:srgbClr val="70AD47">
                    <a:lumMod val="50000"/>
                  </a:srgbClr>
                </a:solidFill>
                <a:latin typeface="Times New Roman" panose="02020603050405020304" pitchFamily="18" charset="0"/>
                <a:ea typeface="Roboto" panose="02000000000000000000" pitchFamily="2" charset="0"/>
                <a:cs typeface="Times New Roman" panose="02020603050405020304" pitchFamily="18" charset="0"/>
                <a:sym typeface="Roboto Regular"/>
              </a:rPr>
              <a:t>الخروج من النظام</a:t>
            </a:r>
            <a:endParaRPr kumimoji="0" lang="ar-EG" sz="2400" b="0" i="0" u="none" strike="noStrike" kern="1200" cap="none" spc="0" normalizeH="0" baseline="0" noProof="0" dirty="0">
              <a:ln>
                <a:noFill/>
              </a:ln>
              <a:solidFill>
                <a:srgbClr val="70AD47">
                  <a:lumMod val="50000"/>
                </a:srgbClr>
              </a:solidFill>
              <a:effectLst/>
              <a:uLnTx/>
              <a:uFillTx/>
              <a:latin typeface="Times New Roman" panose="02020603050405020304" pitchFamily="18" charset="0"/>
              <a:ea typeface="Roboto" panose="02000000000000000000" pitchFamily="2" charset="0"/>
              <a:cs typeface="Times New Roman" panose="02020603050405020304" pitchFamily="18" charset="0"/>
              <a:sym typeface="Roboto Regular"/>
            </a:endParaRPr>
          </a:p>
        </p:txBody>
      </p:sp>
      <p:sp>
        <p:nvSpPr>
          <p:cNvPr id="5" name="Slide Number Placeholder 4">
            <a:extLst>
              <a:ext uri="{FF2B5EF4-FFF2-40B4-BE49-F238E27FC236}">
                <a16:creationId xmlns:a16="http://schemas.microsoft.com/office/drawing/2014/main" id="{569E124C-C6AA-7E4B-E19B-9401B3D07426}"/>
              </a:ext>
            </a:extLst>
          </p:cNvPr>
          <p:cNvSpPr>
            <a:spLocks noGrp="1"/>
          </p:cNvSpPr>
          <p:nvPr>
            <p:ph type="sldNum" sz="quarter" idx="4"/>
          </p:nvPr>
        </p:nvSpPr>
        <p:spPr/>
        <p:txBody>
          <a:bodyPr/>
          <a:lstStyle/>
          <a:p>
            <a:fld id="{E75C2C89-F887-4946-9289-77479B29E3CB}" type="slidenum">
              <a:rPr lang="en-US" smtClean="0"/>
              <a:pPr/>
              <a:t>3</a:t>
            </a:fld>
            <a:endParaRPr lang="en-US"/>
          </a:p>
        </p:txBody>
      </p:sp>
      <p:sp>
        <p:nvSpPr>
          <p:cNvPr id="8" name="Title 7">
            <a:extLst>
              <a:ext uri="{FF2B5EF4-FFF2-40B4-BE49-F238E27FC236}">
                <a16:creationId xmlns:a16="http://schemas.microsoft.com/office/drawing/2014/main" id="{E3E891E8-CFBD-5C0E-3E4B-FD9047AE38AD}"/>
              </a:ext>
            </a:extLst>
          </p:cNvPr>
          <p:cNvSpPr>
            <a:spLocks noGrp="1"/>
          </p:cNvSpPr>
          <p:nvPr>
            <p:ph type="title"/>
          </p:nvPr>
        </p:nvSpPr>
        <p:spPr/>
        <p:txBody>
          <a:bodyPr/>
          <a:lstStyle/>
          <a:p>
            <a:r>
              <a:rPr lang="ar-SA" dirty="0"/>
              <a:t>المحتوى</a:t>
            </a:r>
            <a:endParaRPr lang="en-US" dirty="0"/>
          </a:p>
        </p:txBody>
      </p:sp>
    </p:spTree>
    <p:extLst>
      <p:ext uri="{BB962C8B-B14F-4D97-AF65-F5344CB8AC3E}">
        <p14:creationId xmlns:p14="http://schemas.microsoft.com/office/powerpoint/2010/main" val="15465157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C6C6F-A319-A549-C839-FF3772166846}"/>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5A2973FB-79F8-2887-9050-C509DCF47725}"/>
              </a:ext>
            </a:extLst>
          </p:cNvPr>
          <p:cNvSpPr>
            <a:spLocks noGrp="1"/>
          </p:cNvSpPr>
          <p:nvPr>
            <p:ph type="chart" sz="quarter" idx="21"/>
          </p:nvPr>
        </p:nvSpPr>
        <p:spPr>
          <a:xfrm>
            <a:off x="6732287" y="1845829"/>
            <a:ext cx="5130051" cy="4455725"/>
          </a:xfrm>
        </p:spPr>
        <p:txBody>
          <a:bodyPr/>
          <a:lstStyle/>
          <a:p>
            <a:endParaRPr lang="ar-SA" dirty="0"/>
          </a:p>
          <a:p>
            <a:r>
              <a:rPr lang="ar-SA" dirty="0"/>
              <a:t>تستعرض هذه الصفحة جميع احصائيات </a:t>
            </a:r>
            <a:br>
              <a:rPr lang="en-US" dirty="0"/>
            </a:br>
            <a:r>
              <a:rPr lang="ar-SA" dirty="0"/>
              <a:t>المؤشرات الخاصة بوزارة </a:t>
            </a:r>
          </a:p>
          <a:p>
            <a:r>
              <a:rPr lang="ar-SA" dirty="0"/>
              <a:t>الحرس الوطني</a:t>
            </a:r>
            <a:endParaRPr lang="en-US" dirty="0"/>
          </a:p>
        </p:txBody>
      </p:sp>
      <p:sp>
        <p:nvSpPr>
          <p:cNvPr id="7" name="Text Placeholder 6">
            <a:extLst>
              <a:ext uri="{FF2B5EF4-FFF2-40B4-BE49-F238E27FC236}">
                <a16:creationId xmlns:a16="http://schemas.microsoft.com/office/drawing/2014/main" id="{27C839D1-30D6-4A74-204B-4B17D962BE78}"/>
              </a:ext>
            </a:extLst>
          </p:cNvPr>
          <p:cNvSpPr>
            <a:spLocks noGrp="1"/>
          </p:cNvSpPr>
          <p:nvPr>
            <p:ph type="body" sz="quarter" idx="24"/>
          </p:nvPr>
        </p:nvSpPr>
        <p:spPr/>
        <p:txBody>
          <a:bodyPr/>
          <a:lstStyle/>
          <a:p>
            <a:r>
              <a:rPr lang="ar-SA" dirty="0"/>
              <a:t>إحصائية المؤشرات لوزارة الحرس الوطني</a:t>
            </a:r>
            <a:endParaRPr lang="en-US" dirty="0"/>
          </a:p>
        </p:txBody>
      </p:sp>
      <p:sp>
        <p:nvSpPr>
          <p:cNvPr id="8" name="Title 7">
            <a:extLst>
              <a:ext uri="{FF2B5EF4-FFF2-40B4-BE49-F238E27FC236}">
                <a16:creationId xmlns:a16="http://schemas.microsoft.com/office/drawing/2014/main" id="{22B26E64-35FF-7BC2-D3D9-E86F97D464DE}"/>
              </a:ext>
            </a:extLst>
          </p:cNvPr>
          <p:cNvSpPr>
            <a:spLocks noGrp="1"/>
          </p:cNvSpPr>
          <p:nvPr>
            <p:ph type="title"/>
          </p:nvPr>
        </p:nvSpPr>
        <p:spPr/>
        <p:txBody>
          <a:bodyPr/>
          <a:lstStyle/>
          <a:p>
            <a:r>
              <a:rPr lang="ar-SA" dirty="0"/>
              <a:t>لوحة أداء</a:t>
            </a:r>
            <a:endParaRPr lang="en-US" dirty="0"/>
          </a:p>
        </p:txBody>
      </p:sp>
      <p:pic>
        <p:nvPicPr>
          <p:cNvPr id="6" name="Picture 5">
            <a:extLst>
              <a:ext uri="{FF2B5EF4-FFF2-40B4-BE49-F238E27FC236}">
                <a16:creationId xmlns:a16="http://schemas.microsoft.com/office/drawing/2014/main" id="{0B96FFF8-27C4-DFA1-D416-AB79F5B636F6}"/>
              </a:ext>
            </a:extLst>
          </p:cNvPr>
          <p:cNvPicPr>
            <a:picLocks noChangeAspect="1"/>
          </p:cNvPicPr>
          <p:nvPr/>
        </p:nvPicPr>
        <p:blipFill>
          <a:blip r:embed="rId2"/>
          <a:stretch>
            <a:fillRect/>
          </a:stretch>
        </p:blipFill>
        <p:spPr>
          <a:xfrm>
            <a:off x="465344" y="1781174"/>
            <a:ext cx="8380167" cy="4230254"/>
          </a:xfrm>
          <a:prstGeom prst="rect">
            <a:avLst/>
          </a:prstGeom>
        </p:spPr>
      </p:pic>
    </p:spTree>
    <p:extLst>
      <p:ext uri="{BB962C8B-B14F-4D97-AF65-F5344CB8AC3E}">
        <p14:creationId xmlns:p14="http://schemas.microsoft.com/office/powerpoint/2010/main" val="9472005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61566-FE75-C045-7010-430CA09F667F}"/>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DA0F3465-26B5-08CB-3C29-C293BC0B40EB}"/>
              </a:ext>
            </a:extLst>
          </p:cNvPr>
          <p:cNvSpPr>
            <a:spLocks noGrp="1"/>
          </p:cNvSpPr>
          <p:nvPr>
            <p:ph type="chart" sz="quarter" idx="21"/>
          </p:nvPr>
        </p:nvSpPr>
        <p:spPr>
          <a:xfrm>
            <a:off x="8409992" y="1845829"/>
            <a:ext cx="3452346" cy="4455725"/>
          </a:xfrm>
        </p:spPr>
        <p:txBody>
          <a:bodyPr/>
          <a:lstStyle/>
          <a:p>
            <a:endParaRPr lang="ar-SA" dirty="0"/>
          </a:p>
          <a:p>
            <a:pPr marL="342900" indent="-342900">
              <a:buFont typeface="+mj-lt"/>
              <a:buAutoNum type="arabicPeriod"/>
            </a:pPr>
            <a:r>
              <a:rPr lang="ar-SA" dirty="0"/>
              <a:t>بالنقر على اسم المستخدم الحالي، سيعرض النظام قائمة منسدلة</a:t>
            </a:r>
          </a:p>
          <a:p>
            <a:pPr marL="342900" indent="-342900">
              <a:buFont typeface="+mj-lt"/>
              <a:buAutoNum type="arabicPeriod"/>
            </a:pPr>
            <a:r>
              <a:rPr lang="ar-SA" dirty="0"/>
              <a:t>يمكنك النقر على "تسجيل الخروج" لتسجيل الخروج من النظام</a:t>
            </a:r>
          </a:p>
        </p:txBody>
      </p:sp>
      <p:sp>
        <p:nvSpPr>
          <p:cNvPr id="8" name="Title 7">
            <a:extLst>
              <a:ext uri="{FF2B5EF4-FFF2-40B4-BE49-F238E27FC236}">
                <a16:creationId xmlns:a16="http://schemas.microsoft.com/office/drawing/2014/main" id="{BEA038CF-1D1A-DF73-2A43-DAC291FBEA63}"/>
              </a:ext>
            </a:extLst>
          </p:cNvPr>
          <p:cNvSpPr>
            <a:spLocks noGrp="1"/>
          </p:cNvSpPr>
          <p:nvPr>
            <p:ph type="title"/>
          </p:nvPr>
        </p:nvSpPr>
        <p:spPr/>
        <p:txBody>
          <a:bodyPr/>
          <a:lstStyle/>
          <a:p>
            <a:r>
              <a:rPr lang="ar-SA" dirty="0"/>
              <a:t>الخروج من النظام</a:t>
            </a:r>
            <a:endParaRPr lang="en-US" dirty="0"/>
          </a:p>
        </p:txBody>
      </p:sp>
      <p:pic>
        <p:nvPicPr>
          <p:cNvPr id="4" name="Picture 3">
            <a:extLst>
              <a:ext uri="{FF2B5EF4-FFF2-40B4-BE49-F238E27FC236}">
                <a16:creationId xmlns:a16="http://schemas.microsoft.com/office/drawing/2014/main" id="{D580EABE-47FB-5267-6C53-2C92864BBF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20785" y="1893996"/>
            <a:ext cx="7733533" cy="4085691"/>
          </a:xfrm>
          <a:prstGeom prst="rect">
            <a:avLst/>
          </a:prstGeom>
        </p:spPr>
      </p:pic>
      <p:sp>
        <p:nvSpPr>
          <p:cNvPr id="12" name="Free-form: Shape 11">
            <a:extLst>
              <a:ext uri="{FF2B5EF4-FFF2-40B4-BE49-F238E27FC236}">
                <a16:creationId xmlns:a16="http://schemas.microsoft.com/office/drawing/2014/main" id="{71513D9C-731F-8B75-6FF8-455E937FE2F4}"/>
              </a:ext>
            </a:extLst>
          </p:cNvPr>
          <p:cNvSpPr/>
          <p:nvPr/>
        </p:nvSpPr>
        <p:spPr>
          <a:xfrm>
            <a:off x="721567" y="1845829"/>
            <a:ext cx="7769290" cy="4133858"/>
          </a:xfrm>
          <a:custGeom>
            <a:avLst/>
            <a:gdLst>
              <a:gd name="connsiteX0" fmla="*/ 87406 w 7769290"/>
              <a:gd name="connsiteY0" fmla="*/ 512163 h 4133858"/>
              <a:gd name="connsiteX1" fmla="*/ 51319 w 7769290"/>
              <a:gd name="connsiteY1" fmla="*/ 548250 h 4133858"/>
              <a:gd name="connsiteX2" fmla="*/ 51319 w 7769290"/>
              <a:gd name="connsiteY2" fmla="*/ 692596 h 4133858"/>
              <a:gd name="connsiteX3" fmla="*/ 87406 w 7769290"/>
              <a:gd name="connsiteY3" fmla="*/ 728683 h 4133858"/>
              <a:gd name="connsiteX4" fmla="*/ 920299 w 7769290"/>
              <a:gd name="connsiteY4" fmla="*/ 728683 h 4133858"/>
              <a:gd name="connsiteX5" fmla="*/ 956386 w 7769290"/>
              <a:gd name="connsiteY5" fmla="*/ 692596 h 4133858"/>
              <a:gd name="connsiteX6" fmla="*/ 956386 w 7769290"/>
              <a:gd name="connsiteY6" fmla="*/ 548250 h 4133858"/>
              <a:gd name="connsiteX7" fmla="*/ 920299 w 7769290"/>
              <a:gd name="connsiteY7" fmla="*/ 512163 h 4133858"/>
              <a:gd name="connsiteX8" fmla="*/ 235900 w 7769290"/>
              <a:gd name="connsiteY8" fmla="*/ 104030 h 4133858"/>
              <a:gd name="connsiteX9" fmla="*/ 205276 w 7769290"/>
              <a:gd name="connsiteY9" fmla="*/ 134654 h 4133858"/>
              <a:gd name="connsiteX10" fmla="*/ 205276 w 7769290"/>
              <a:gd name="connsiteY10" fmla="*/ 257146 h 4133858"/>
              <a:gd name="connsiteX11" fmla="*/ 235900 w 7769290"/>
              <a:gd name="connsiteY11" fmla="*/ 287770 h 4133858"/>
              <a:gd name="connsiteX12" fmla="*/ 641182 w 7769290"/>
              <a:gd name="connsiteY12" fmla="*/ 287770 h 4133858"/>
              <a:gd name="connsiteX13" fmla="*/ 671806 w 7769290"/>
              <a:gd name="connsiteY13" fmla="*/ 257146 h 4133858"/>
              <a:gd name="connsiteX14" fmla="*/ 671806 w 7769290"/>
              <a:gd name="connsiteY14" fmla="*/ 134654 h 4133858"/>
              <a:gd name="connsiteX15" fmla="*/ 641182 w 7769290"/>
              <a:gd name="connsiteY15" fmla="*/ 104030 h 4133858"/>
              <a:gd name="connsiteX16" fmla="*/ 0 w 7769290"/>
              <a:gd name="connsiteY16" fmla="*/ 0 h 4133858"/>
              <a:gd name="connsiteX17" fmla="*/ 7769290 w 7769290"/>
              <a:gd name="connsiteY17" fmla="*/ 0 h 4133858"/>
              <a:gd name="connsiteX18" fmla="*/ 7769290 w 7769290"/>
              <a:gd name="connsiteY18" fmla="*/ 4133858 h 4133858"/>
              <a:gd name="connsiteX19" fmla="*/ 0 w 7769290"/>
              <a:gd name="connsiteY19" fmla="*/ 4133858 h 413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769290" h="4133858">
                <a:moveTo>
                  <a:pt x="87406" y="512163"/>
                </a:moveTo>
                <a:cubicBezTo>
                  <a:pt x="67476" y="512163"/>
                  <a:pt x="51319" y="528320"/>
                  <a:pt x="51319" y="548250"/>
                </a:cubicBezTo>
                <a:lnTo>
                  <a:pt x="51319" y="692596"/>
                </a:lnTo>
                <a:cubicBezTo>
                  <a:pt x="51319" y="712526"/>
                  <a:pt x="67476" y="728683"/>
                  <a:pt x="87406" y="728683"/>
                </a:cubicBezTo>
                <a:lnTo>
                  <a:pt x="920299" y="728683"/>
                </a:lnTo>
                <a:cubicBezTo>
                  <a:pt x="940229" y="728683"/>
                  <a:pt x="956386" y="712526"/>
                  <a:pt x="956386" y="692596"/>
                </a:cubicBezTo>
                <a:lnTo>
                  <a:pt x="956386" y="548250"/>
                </a:lnTo>
                <a:cubicBezTo>
                  <a:pt x="956386" y="528320"/>
                  <a:pt x="940229" y="512163"/>
                  <a:pt x="920299" y="512163"/>
                </a:cubicBezTo>
                <a:close/>
                <a:moveTo>
                  <a:pt x="235900" y="104030"/>
                </a:moveTo>
                <a:cubicBezTo>
                  <a:pt x="218987" y="104030"/>
                  <a:pt x="205276" y="117741"/>
                  <a:pt x="205276" y="134654"/>
                </a:cubicBezTo>
                <a:lnTo>
                  <a:pt x="205276" y="257146"/>
                </a:lnTo>
                <a:cubicBezTo>
                  <a:pt x="205276" y="274059"/>
                  <a:pt x="218987" y="287770"/>
                  <a:pt x="235900" y="287770"/>
                </a:cubicBezTo>
                <a:lnTo>
                  <a:pt x="641182" y="287770"/>
                </a:lnTo>
                <a:cubicBezTo>
                  <a:pt x="658095" y="287770"/>
                  <a:pt x="671806" y="274059"/>
                  <a:pt x="671806" y="257146"/>
                </a:cubicBezTo>
                <a:lnTo>
                  <a:pt x="671806" y="134654"/>
                </a:lnTo>
                <a:cubicBezTo>
                  <a:pt x="671806" y="117741"/>
                  <a:pt x="658095" y="104030"/>
                  <a:pt x="641182" y="104030"/>
                </a:cubicBezTo>
                <a:close/>
                <a:moveTo>
                  <a:pt x="0" y="0"/>
                </a:moveTo>
                <a:lnTo>
                  <a:pt x="7769290" y="0"/>
                </a:lnTo>
                <a:lnTo>
                  <a:pt x="7769290" y="4133858"/>
                </a:lnTo>
                <a:lnTo>
                  <a:pt x="0" y="4133858"/>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TextBox 12">
            <a:extLst>
              <a:ext uri="{FF2B5EF4-FFF2-40B4-BE49-F238E27FC236}">
                <a16:creationId xmlns:a16="http://schemas.microsoft.com/office/drawing/2014/main" id="{58646AD6-F213-D203-61F0-AA3F4BDA9B66}"/>
              </a:ext>
            </a:extLst>
          </p:cNvPr>
          <p:cNvSpPr txBox="1"/>
          <p:nvPr/>
        </p:nvSpPr>
        <p:spPr>
          <a:xfrm>
            <a:off x="788562" y="1893996"/>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4" name="TextBox 13">
            <a:extLst>
              <a:ext uri="{FF2B5EF4-FFF2-40B4-BE49-F238E27FC236}">
                <a16:creationId xmlns:a16="http://schemas.microsoft.com/office/drawing/2014/main" id="{BF0DC771-0C31-437E-4CCC-CBC58FF7E7D4}"/>
              </a:ext>
            </a:extLst>
          </p:cNvPr>
          <p:cNvSpPr txBox="1"/>
          <p:nvPr/>
        </p:nvSpPr>
        <p:spPr>
          <a:xfrm>
            <a:off x="1743108" y="2344276"/>
            <a:ext cx="129235" cy="280751"/>
          </a:xfrm>
          <a:prstGeom prst="rect">
            <a:avLst/>
          </a:prstGeom>
        </p:spPr>
        <p:txBody>
          <a:bodyPr vert="horz" wrap="none" lIns="0" tIns="0" rIns="0" bIns="0" rtlCol="0" anchor="t">
            <a:noAutofit/>
          </a:bodyPr>
          <a:lstStyle/>
          <a:p>
            <a:pPr algn="l"/>
            <a:r>
              <a:rPr lang="ar-SA" sz="2000" b="1" dirty="0">
                <a:solidFill>
                  <a:schemeClr val="bg1"/>
                </a:solidFill>
              </a:rPr>
              <a:t>2</a:t>
            </a:r>
            <a:endParaRPr lang="en-US" sz="2000" b="1" dirty="0">
              <a:solidFill>
                <a:schemeClr val="bg1"/>
              </a:solidFill>
            </a:endParaRPr>
          </a:p>
        </p:txBody>
      </p:sp>
    </p:spTree>
    <p:extLst>
      <p:ext uri="{BB962C8B-B14F-4D97-AF65-F5344CB8AC3E}">
        <p14:creationId xmlns:p14="http://schemas.microsoft.com/office/powerpoint/2010/main" val="1543852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A8AAB-39EE-D69F-8444-1C2B78BBA55C}"/>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26C1D040-7911-77D4-B491-E6F7D8FFCE05}"/>
              </a:ext>
            </a:extLst>
          </p:cNvPr>
          <p:cNvGrpSpPr/>
          <p:nvPr/>
        </p:nvGrpSpPr>
        <p:grpSpPr>
          <a:xfrm>
            <a:off x="8824585" y="2931592"/>
            <a:ext cx="2705168" cy="1491840"/>
            <a:chOff x="8794105" y="2706040"/>
            <a:chExt cx="2305156" cy="1271242"/>
          </a:xfrm>
        </p:grpSpPr>
        <p:sp>
          <p:nvSpPr>
            <p:cNvPr id="9" name="Google Shape;6724;p57">
              <a:extLst>
                <a:ext uri="{FF2B5EF4-FFF2-40B4-BE49-F238E27FC236}">
                  <a16:creationId xmlns:a16="http://schemas.microsoft.com/office/drawing/2014/main" id="{C7A66E41-492A-15E0-28C0-4DEE80B3109C}"/>
                </a:ext>
              </a:extLst>
            </p:cNvPr>
            <p:cNvSpPr/>
            <p:nvPr/>
          </p:nvSpPr>
          <p:spPr>
            <a:xfrm>
              <a:off x="8816088" y="3705789"/>
              <a:ext cx="272960" cy="271493"/>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chemeClr val="bg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grpSp>
          <p:nvGrpSpPr>
            <p:cNvPr id="10" name="Google Shape;8472;p61">
              <a:extLst>
                <a:ext uri="{FF2B5EF4-FFF2-40B4-BE49-F238E27FC236}">
                  <a16:creationId xmlns:a16="http://schemas.microsoft.com/office/drawing/2014/main" id="{57967C50-883D-65D4-127A-C7E0279B2AEE}"/>
                </a:ext>
              </a:extLst>
            </p:cNvPr>
            <p:cNvGrpSpPr/>
            <p:nvPr/>
          </p:nvGrpSpPr>
          <p:grpSpPr>
            <a:xfrm>
              <a:off x="8812863" y="2706040"/>
              <a:ext cx="305118" cy="214918"/>
              <a:chOff x="-1199300" y="3279250"/>
              <a:chExt cx="293025" cy="206400"/>
            </a:xfrm>
            <a:solidFill>
              <a:schemeClr val="bg1"/>
            </a:solidFill>
          </p:grpSpPr>
          <p:sp>
            <p:nvSpPr>
              <p:cNvPr id="27" name="Google Shape;8473;p61">
                <a:extLst>
                  <a:ext uri="{FF2B5EF4-FFF2-40B4-BE49-F238E27FC236}">
                    <a16:creationId xmlns:a16="http://schemas.microsoft.com/office/drawing/2014/main" id="{BE9DD6C0-4A8D-3585-34D9-B68E138C8B05}"/>
                  </a:ext>
                </a:extLst>
              </p:cNvPr>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8" name="Google Shape;8474;p61">
                <a:extLst>
                  <a:ext uri="{FF2B5EF4-FFF2-40B4-BE49-F238E27FC236}">
                    <a16:creationId xmlns:a16="http://schemas.microsoft.com/office/drawing/2014/main" id="{62E28279-0C3E-71A5-C369-50490BCCEEDA}"/>
                  </a:ext>
                </a:extLst>
              </p:cNvPr>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9" name="Google Shape;8475;p61">
                <a:extLst>
                  <a:ext uri="{FF2B5EF4-FFF2-40B4-BE49-F238E27FC236}">
                    <a16:creationId xmlns:a16="http://schemas.microsoft.com/office/drawing/2014/main" id="{C1C5F7C4-BB03-4548-9EF5-8241DCADBCC1}"/>
                  </a:ext>
                </a:extLst>
              </p:cNvPr>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30" name="Google Shape;8476;p61">
                <a:extLst>
                  <a:ext uri="{FF2B5EF4-FFF2-40B4-BE49-F238E27FC236}">
                    <a16:creationId xmlns:a16="http://schemas.microsoft.com/office/drawing/2014/main" id="{E59C28E1-57BC-1C9D-C0E3-0432D886F8FE}"/>
                  </a:ext>
                </a:extLst>
              </p:cNvPr>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grpSp>
        <p:sp>
          <p:nvSpPr>
            <p:cNvPr id="11" name="TextBox 10">
              <a:extLst>
                <a:ext uri="{FF2B5EF4-FFF2-40B4-BE49-F238E27FC236}">
                  <a16:creationId xmlns:a16="http://schemas.microsoft.com/office/drawing/2014/main" id="{2695BA72-E482-0D9A-41CF-A21C46817C13}"/>
                </a:ext>
              </a:extLst>
            </p:cNvPr>
            <p:cNvSpPr txBox="1"/>
            <p:nvPr/>
          </p:nvSpPr>
          <p:spPr>
            <a:xfrm>
              <a:off x="9244502" y="2706040"/>
              <a:ext cx="1854759" cy="138499"/>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noProof="0" dirty="0">
                  <a:ln>
                    <a:noFill/>
                  </a:ln>
                  <a:solidFill>
                    <a:schemeClr val="bg1"/>
                  </a:solidFill>
                  <a:effectLst/>
                  <a:uLnTx/>
                  <a:uFillTx/>
                  <a:latin typeface="Sakkal Majalla" panose="02000000000000000000" pitchFamily="2" charset="-78"/>
                  <a:ea typeface="+mn-ea"/>
                  <a:cs typeface="Sakkal Majalla" panose="02000000000000000000" pitchFamily="2" charset="-78"/>
                  <a:hlinkClick r:id="rId2">
                    <a:extLst>
                      <a:ext uri="{A12FA001-AC4F-418D-AE19-62706E023703}">
                        <ahyp:hlinkClr xmlns:ahyp="http://schemas.microsoft.com/office/drawing/2018/hyperlinkcolor" val="tx"/>
                      </a:ext>
                    </a:extLst>
                  </a:hlinkClick>
                </a:rPr>
                <a:t>MNGDP@sang.gov.sa</a:t>
              </a:r>
              <a:endParaRPr kumimoji="0" lang="en-US" b="0" i="0" u="none" strike="noStrike" kern="1200" cap="none" spc="0" normalizeH="0" noProof="0" dirty="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grpSp>
          <p:nvGrpSpPr>
            <p:cNvPr id="12" name="Google Shape;8434;p61">
              <a:extLst>
                <a:ext uri="{FF2B5EF4-FFF2-40B4-BE49-F238E27FC236}">
                  <a16:creationId xmlns:a16="http://schemas.microsoft.com/office/drawing/2014/main" id="{53FAFFD2-02F0-1506-8759-E2E87C20ACF5}"/>
                </a:ext>
              </a:extLst>
            </p:cNvPr>
            <p:cNvGrpSpPr/>
            <p:nvPr/>
          </p:nvGrpSpPr>
          <p:grpSpPr>
            <a:xfrm>
              <a:off x="8794105" y="3192846"/>
              <a:ext cx="306943" cy="305083"/>
              <a:chOff x="-6689825" y="3992050"/>
              <a:chExt cx="293025" cy="291250"/>
            </a:xfrm>
            <a:solidFill>
              <a:schemeClr val="bg1"/>
            </a:solidFill>
          </p:grpSpPr>
          <p:sp>
            <p:nvSpPr>
              <p:cNvPr id="15" name="Google Shape;8435;p61">
                <a:extLst>
                  <a:ext uri="{FF2B5EF4-FFF2-40B4-BE49-F238E27FC236}">
                    <a16:creationId xmlns:a16="http://schemas.microsoft.com/office/drawing/2014/main" id="{C2E26223-466E-A7B5-1636-4AE9B1B3A6FD}"/>
                  </a:ext>
                </a:extLst>
              </p:cNvPr>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16" name="Google Shape;8436;p61">
                <a:extLst>
                  <a:ext uri="{FF2B5EF4-FFF2-40B4-BE49-F238E27FC236}">
                    <a16:creationId xmlns:a16="http://schemas.microsoft.com/office/drawing/2014/main" id="{343E8A84-0FBF-93FA-6606-261751826647}"/>
                  </a:ext>
                </a:extLst>
              </p:cNvPr>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17" name="Google Shape;8437;p61">
                <a:extLst>
                  <a:ext uri="{FF2B5EF4-FFF2-40B4-BE49-F238E27FC236}">
                    <a16:creationId xmlns:a16="http://schemas.microsoft.com/office/drawing/2014/main" id="{A38A3D4C-8D23-35DA-0BEC-96A4873ED4DC}"/>
                  </a:ext>
                </a:extLst>
              </p:cNvPr>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18" name="Google Shape;8438;p61">
                <a:extLst>
                  <a:ext uri="{FF2B5EF4-FFF2-40B4-BE49-F238E27FC236}">
                    <a16:creationId xmlns:a16="http://schemas.microsoft.com/office/drawing/2014/main" id="{91A828A4-C61D-77D6-A03E-9D6239A1AC9C}"/>
                  </a:ext>
                </a:extLst>
              </p:cNvPr>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19" name="Google Shape;8439;p61">
                <a:extLst>
                  <a:ext uri="{FF2B5EF4-FFF2-40B4-BE49-F238E27FC236}">
                    <a16:creationId xmlns:a16="http://schemas.microsoft.com/office/drawing/2014/main" id="{904781F2-25EB-EE0A-C81F-71C2675B7855}"/>
                  </a:ext>
                </a:extLst>
              </p:cNvPr>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0" name="Google Shape;8440;p61">
                <a:extLst>
                  <a:ext uri="{FF2B5EF4-FFF2-40B4-BE49-F238E27FC236}">
                    <a16:creationId xmlns:a16="http://schemas.microsoft.com/office/drawing/2014/main" id="{3BBA12C9-E4D0-FF75-1A31-A2C9120E9A3F}"/>
                  </a:ext>
                </a:extLst>
              </p:cNvPr>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1" name="Google Shape;8441;p61">
                <a:extLst>
                  <a:ext uri="{FF2B5EF4-FFF2-40B4-BE49-F238E27FC236}">
                    <a16:creationId xmlns:a16="http://schemas.microsoft.com/office/drawing/2014/main" id="{272A6304-D2CD-25D5-DFD7-BEAD6C5C36AE}"/>
                  </a:ext>
                </a:extLst>
              </p:cNvPr>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2" name="Google Shape;8442;p61">
                <a:extLst>
                  <a:ext uri="{FF2B5EF4-FFF2-40B4-BE49-F238E27FC236}">
                    <a16:creationId xmlns:a16="http://schemas.microsoft.com/office/drawing/2014/main" id="{C3F79802-E861-EAD9-1DE8-F34F91E93CED}"/>
                  </a:ext>
                </a:extLst>
              </p:cNvPr>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3" name="Google Shape;8443;p61">
                <a:extLst>
                  <a:ext uri="{FF2B5EF4-FFF2-40B4-BE49-F238E27FC236}">
                    <a16:creationId xmlns:a16="http://schemas.microsoft.com/office/drawing/2014/main" id="{25663976-4E0F-844E-DFB2-574782879D2A}"/>
                  </a:ext>
                </a:extLst>
              </p:cNvPr>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4" name="Google Shape;8444;p61">
                <a:extLst>
                  <a:ext uri="{FF2B5EF4-FFF2-40B4-BE49-F238E27FC236}">
                    <a16:creationId xmlns:a16="http://schemas.microsoft.com/office/drawing/2014/main" id="{9F845B9C-541B-6BF6-1CDF-8887D3A50E85}"/>
                  </a:ext>
                </a:extLst>
              </p:cNvPr>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5" name="Google Shape;8445;p61">
                <a:extLst>
                  <a:ext uri="{FF2B5EF4-FFF2-40B4-BE49-F238E27FC236}">
                    <a16:creationId xmlns:a16="http://schemas.microsoft.com/office/drawing/2014/main" id="{3392B26A-8AC8-E679-28C1-8961B4520386}"/>
                  </a:ext>
                </a:extLst>
              </p:cNvPr>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sp>
            <p:nvSpPr>
              <p:cNvPr id="26" name="Google Shape;8446;p61">
                <a:extLst>
                  <a:ext uri="{FF2B5EF4-FFF2-40B4-BE49-F238E27FC236}">
                    <a16:creationId xmlns:a16="http://schemas.microsoft.com/office/drawing/2014/main" id="{E21F4F46-2888-90CB-9DEC-740A2E2E2F74}"/>
                  </a:ext>
                </a:extLst>
              </p:cNvPr>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noProof="0">
                  <a:ln>
                    <a:noFill/>
                  </a:ln>
                  <a:solidFill>
                    <a:srgbClr val="B79F65"/>
                  </a:solidFill>
                  <a:effectLst/>
                  <a:uLnTx/>
                  <a:uFillTx/>
                  <a:latin typeface="Sakkal Majalla" panose="02000000000000000000" pitchFamily="2" charset="-78"/>
                  <a:ea typeface="+mn-ea"/>
                  <a:cs typeface="Sakkal Majalla" panose="02000000000000000000" pitchFamily="2" charset="-78"/>
                </a:endParaRPr>
              </a:p>
            </p:txBody>
          </p:sp>
        </p:grpSp>
        <p:sp>
          <p:nvSpPr>
            <p:cNvPr id="13" name="TextBox 12">
              <a:extLst>
                <a:ext uri="{FF2B5EF4-FFF2-40B4-BE49-F238E27FC236}">
                  <a16:creationId xmlns:a16="http://schemas.microsoft.com/office/drawing/2014/main" id="{2373B313-64CB-A8B6-6259-6C7F705AA74B}"/>
                </a:ext>
              </a:extLst>
            </p:cNvPr>
            <p:cNvSpPr txBox="1"/>
            <p:nvPr/>
          </p:nvSpPr>
          <p:spPr>
            <a:xfrm>
              <a:off x="9244502" y="3238644"/>
              <a:ext cx="1854759" cy="138499"/>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noProof="0" dirty="0">
                  <a:ln>
                    <a:noFill/>
                  </a:ln>
                  <a:solidFill>
                    <a:schemeClr val="bg1"/>
                  </a:solidFill>
                  <a:effectLst/>
                  <a:uLnTx/>
                  <a:uFillTx/>
                  <a:latin typeface="Sakkal Majalla" panose="02000000000000000000" pitchFamily="2" charset="-78"/>
                  <a:ea typeface="+mn-ea"/>
                  <a:cs typeface="Sakkal Majalla" panose="02000000000000000000" pitchFamily="2" charset="-78"/>
                </a:rPr>
                <a:t>https://mngdp.sang.gov.sa/</a:t>
              </a:r>
            </a:p>
          </p:txBody>
        </p:sp>
        <p:sp>
          <p:nvSpPr>
            <p:cNvPr id="14" name="TextBox 13">
              <a:extLst>
                <a:ext uri="{FF2B5EF4-FFF2-40B4-BE49-F238E27FC236}">
                  <a16:creationId xmlns:a16="http://schemas.microsoft.com/office/drawing/2014/main" id="{FBFBA64F-E905-F4A6-214F-E402DCF664DB}"/>
                </a:ext>
              </a:extLst>
            </p:cNvPr>
            <p:cNvSpPr txBox="1"/>
            <p:nvPr/>
          </p:nvSpPr>
          <p:spPr>
            <a:xfrm>
              <a:off x="9244502" y="3771249"/>
              <a:ext cx="1854759" cy="138499"/>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noProof="0" dirty="0">
                  <a:ln>
                    <a:noFill/>
                  </a:ln>
                  <a:solidFill>
                    <a:schemeClr val="bg1"/>
                  </a:solidFill>
                  <a:effectLst/>
                  <a:uLnTx/>
                  <a:uFillTx/>
                  <a:latin typeface="Sakkal Majalla" panose="02000000000000000000" pitchFamily="2" charset="-78"/>
                  <a:ea typeface="+mn-ea"/>
                  <a:cs typeface="Sakkal Majalla" panose="02000000000000000000" pitchFamily="2" charset="-78"/>
                </a:rPr>
                <a:t>00966555006705</a:t>
              </a:r>
            </a:p>
          </p:txBody>
        </p:sp>
      </p:grpSp>
      <p:grpSp>
        <p:nvGrpSpPr>
          <p:cNvPr id="31" name="Group 30">
            <a:extLst>
              <a:ext uri="{FF2B5EF4-FFF2-40B4-BE49-F238E27FC236}">
                <a16:creationId xmlns:a16="http://schemas.microsoft.com/office/drawing/2014/main" id="{7697BC38-3797-F088-F74F-9A3D2373DAEE}"/>
              </a:ext>
            </a:extLst>
          </p:cNvPr>
          <p:cNvGrpSpPr/>
          <p:nvPr/>
        </p:nvGrpSpPr>
        <p:grpSpPr>
          <a:xfrm>
            <a:off x="1722352" y="853894"/>
            <a:ext cx="4147422" cy="5150212"/>
            <a:chOff x="1684012" y="3326924"/>
            <a:chExt cx="3727452" cy="4628699"/>
          </a:xfrm>
        </p:grpSpPr>
        <p:pic>
          <p:nvPicPr>
            <p:cNvPr id="32" name="Picture 31" descr="A logo of a military vehicle&#10;&#10;Description automatically generated">
              <a:extLst>
                <a:ext uri="{FF2B5EF4-FFF2-40B4-BE49-F238E27FC236}">
                  <a16:creationId xmlns:a16="http://schemas.microsoft.com/office/drawing/2014/main" id="{3D755D4A-838B-6F71-7518-73541F5111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33234" y="3326924"/>
              <a:ext cx="3429007" cy="3075438"/>
            </a:xfrm>
            <a:prstGeom prst="rect">
              <a:avLst/>
            </a:prstGeom>
          </p:spPr>
        </p:pic>
        <p:sp>
          <p:nvSpPr>
            <p:cNvPr id="33" name="TextBox 32">
              <a:extLst>
                <a:ext uri="{FF2B5EF4-FFF2-40B4-BE49-F238E27FC236}">
                  <a16:creationId xmlns:a16="http://schemas.microsoft.com/office/drawing/2014/main" id="{F761778D-E516-C1D8-B28A-904347332687}"/>
                </a:ext>
              </a:extLst>
            </p:cNvPr>
            <p:cNvSpPr txBox="1"/>
            <p:nvPr/>
          </p:nvSpPr>
          <p:spPr>
            <a:xfrm>
              <a:off x="1684012" y="6959943"/>
              <a:ext cx="3727452" cy="995680"/>
            </a:xfrm>
            <a:prstGeom prst="rect">
              <a:avLst/>
            </a:prstGeom>
          </p:spPr>
          <p:txBody>
            <a:bodyPr vert="horz" wrap="square" lIns="0" tIns="0" rIns="0" bIns="0" rtlCol="0" anchor="t" anchorCtr="0">
              <a:noAutofit/>
            </a:bodyPr>
            <a:lstStyle/>
            <a:p>
              <a:pPr marL="0" indent="0" algn="ctr" rtl="1">
                <a:lnSpc>
                  <a:spcPct val="100000"/>
                </a:lnSpc>
                <a:spcBef>
                  <a:spcPts val="0"/>
                </a:spcBef>
              </a:pPr>
              <a:r>
                <a:rPr lang="ar-SA" sz="7000" b="0" i="0" dirty="0">
                  <a:solidFill>
                    <a:schemeClr val="bg1"/>
                  </a:solidFill>
                  <a:latin typeface="Sakkal Majalla" panose="02000000000000000000" pitchFamily="2" charset="-78"/>
                  <a:cs typeface="Sakkal Majalla" panose="02000000000000000000" pitchFamily="2" charset="-78"/>
                </a:rPr>
                <a:t>وشكرًا</a:t>
              </a:r>
              <a:r>
                <a:rPr lang="en-US" sz="7000" b="0" i="0" dirty="0">
                  <a:solidFill>
                    <a:schemeClr val="bg1"/>
                  </a:solidFill>
                  <a:latin typeface="Sakkal Majalla" panose="02000000000000000000" pitchFamily="2" charset="-78"/>
                  <a:cs typeface="Sakkal Majalla" panose="02000000000000000000" pitchFamily="2" charset="-78"/>
                </a:rPr>
                <a:t> </a:t>
              </a:r>
              <a:r>
                <a:rPr lang="ar-SA" sz="7000" b="0" i="0" dirty="0">
                  <a:solidFill>
                    <a:schemeClr val="bg1"/>
                  </a:solidFill>
                  <a:latin typeface="Sakkal Majalla" panose="02000000000000000000" pitchFamily="2" charset="-78"/>
                  <a:cs typeface="Sakkal Majalla" panose="02000000000000000000" pitchFamily="2" charset="-78"/>
                </a:rPr>
                <a:t>لكم </a:t>
              </a:r>
              <a:endParaRPr lang="en-US" sz="7000" b="0" i="0" dirty="0">
                <a:solidFill>
                  <a:schemeClr val="bg1"/>
                </a:solidFill>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1184940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1C9E-5BDC-8A76-52DE-4D9B5892A543}"/>
              </a:ext>
            </a:extLst>
          </p:cNvPr>
          <p:cNvSpPr>
            <a:spLocks noGrp="1"/>
          </p:cNvSpPr>
          <p:nvPr>
            <p:ph type="title"/>
          </p:nvPr>
        </p:nvSpPr>
        <p:spPr/>
        <p:txBody>
          <a:bodyPr/>
          <a:lstStyle/>
          <a:p>
            <a:r>
              <a:rPr lang="ar-SA" dirty="0"/>
              <a:t>صفحة تسجيل</a:t>
            </a:r>
            <a:br>
              <a:rPr lang="en-US" dirty="0"/>
            </a:br>
            <a:r>
              <a:rPr lang="ar-SA" dirty="0"/>
              <a:t>الدخول</a:t>
            </a:r>
            <a:endParaRPr lang="en-GB" dirty="0"/>
          </a:p>
        </p:txBody>
      </p:sp>
      <p:sp>
        <p:nvSpPr>
          <p:cNvPr id="3" name="Slide Number Placeholder 2">
            <a:extLst>
              <a:ext uri="{FF2B5EF4-FFF2-40B4-BE49-F238E27FC236}">
                <a16:creationId xmlns:a16="http://schemas.microsoft.com/office/drawing/2014/main" id="{6F56FCD2-AB74-24BB-831E-4E80F768A683}"/>
              </a:ext>
            </a:extLst>
          </p:cNvPr>
          <p:cNvSpPr>
            <a:spLocks noGrp="1"/>
          </p:cNvSpPr>
          <p:nvPr>
            <p:ph type="sldNum" sz="quarter" idx="4"/>
          </p:nvPr>
        </p:nvSpPr>
        <p:spPr/>
        <p:txBody>
          <a:bodyPr/>
          <a:lstStyle/>
          <a:p>
            <a:fld id="{E75C2C89-F887-4946-9289-77479B29E3CB}" type="slidenum">
              <a:rPr lang="en-US" smtClean="0"/>
              <a:pPr/>
              <a:t>4</a:t>
            </a:fld>
            <a:endParaRPr lang="en-US"/>
          </a:p>
        </p:txBody>
      </p:sp>
    </p:spTree>
    <p:extLst>
      <p:ext uri="{BB962C8B-B14F-4D97-AF65-F5344CB8AC3E}">
        <p14:creationId xmlns:p14="http://schemas.microsoft.com/office/powerpoint/2010/main" val="1217139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F4DA7-0654-2BFF-A0F2-8141559C6DC4}"/>
            </a:ext>
          </a:extLst>
        </p:cNvPr>
        <p:cNvGrpSpPr/>
        <p:nvPr/>
      </p:nvGrpSpPr>
      <p:grpSpPr>
        <a:xfrm>
          <a:off x="0" y="0"/>
          <a:ext cx="0" cy="0"/>
          <a:chOff x="0" y="0"/>
          <a:chExt cx="0" cy="0"/>
        </a:xfrm>
      </p:grpSpPr>
      <p:pic>
        <p:nvPicPr>
          <p:cNvPr id="35" name="Content Placeholder 34">
            <a:extLst>
              <a:ext uri="{FF2B5EF4-FFF2-40B4-BE49-F238E27FC236}">
                <a16:creationId xmlns:a16="http://schemas.microsoft.com/office/drawing/2014/main" id="{DF6C530E-4F49-DF80-041C-3A833B162291}"/>
              </a:ext>
            </a:extLst>
          </p:cNvPr>
          <p:cNvPicPr>
            <a:picLocks noGrp="1" noChangeAspect="1"/>
          </p:cNvPicPr>
          <p:nvPr>
            <p:ph sz="quarter" idx="10"/>
          </p:nvPr>
        </p:nvPicPr>
        <p:blipFill>
          <a:blip r:embed="rId2"/>
          <a:stretch>
            <a:fillRect/>
          </a:stretch>
        </p:blipFill>
        <p:spPr>
          <a:xfrm>
            <a:off x="534825" y="1665288"/>
            <a:ext cx="8655356" cy="4709349"/>
          </a:xfrm>
        </p:spPr>
      </p:pic>
      <p:sp>
        <p:nvSpPr>
          <p:cNvPr id="11" name="Freeform: Shape 10">
            <a:extLst>
              <a:ext uri="{FF2B5EF4-FFF2-40B4-BE49-F238E27FC236}">
                <a16:creationId xmlns:a16="http://schemas.microsoft.com/office/drawing/2014/main" id="{C3F67B83-F28B-9087-14C9-25248384DAF3}"/>
              </a:ext>
            </a:extLst>
          </p:cNvPr>
          <p:cNvSpPr/>
          <p:nvPr/>
        </p:nvSpPr>
        <p:spPr>
          <a:xfrm>
            <a:off x="534825" y="1665288"/>
            <a:ext cx="8655356" cy="4709348"/>
          </a:xfrm>
          <a:custGeom>
            <a:avLst/>
            <a:gdLst>
              <a:gd name="connsiteX0" fmla="*/ 1231747 w 8655356"/>
              <a:gd name="connsiteY0" fmla="*/ 2666682 h 4709348"/>
              <a:gd name="connsiteX1" fmla="*/ 1183486 w 8655356"/>
              <a:gd name="connsiteY1" fmla="*/ 2714943 h 4709348"/>
              <a:gd name="connsiteX2" fmla="*/ 1183486 w 8655356"/>
              <a:gd name="connsiteY2" fmla="*/ 2907981 h 4709348"/>
              <a:gd name="connsiteX3" fmla="*/ 1231747 w 8655356"/>
              <a:gd name="connsiteY3" fmla="*/ 2956242 h 4709348"/>
              <a:gd name="connsiteX4" fmla="*/ 3101184 w 8655356"/>
              <a:gd name="connsiteY4" fmla="*/ 2956242 h 4709348"/>
              <a:gd name="connsiteX5" fmla="*/ 3149445 w 8655356"/>
              <a:gd name="connsiteY5" fmla="*/ 2907981 h 4709348"/>
              <a:gd name="connsiteX6" fmla="*/ 3149445 w 8655356"/>
              <a:gd name="connsiteY6" fmla="*/ 2714943 h 4709348"/>
              <a:gd name="connsiteX7" fmla="*/ 3101184 w 8655356"/>
              <a:gd name="connsiteY7" fmla="*/ 2666682 h 4709348"/>
              <a:gd name="connsiteX8" fmla="*/ 1231747 w 8655356"/>
              <a:gd name="connsiteY8" fmla="*/ 2346642 h 4709348"/>
              <a:gd name="connsiteX9" fmla="*/ 1183486 w 8655356"/>
              <a:gd name="connsiteY9" fmla="*/ 2394903 h 4709348"/>
              <a:gd name="connsiteX10" fmla="*/ 1183486 w 8655356"/>
              <a:gd name="connsiteY10" fmla="*/ 2587941 h 4709348"/>
              <a:gd name="connsiteX11" fmla="*/ 1231747 w 8655356"/>
              <a:gd name="connsiteY11" fmla="*/ 2636202 h 4709348"/>
              <a:gd name="connsiteX12" fmla="*/ 3104996 w 8655356"/>
              <a:gd name="connsiteY12" fmla="*/ 2636202 h 4709348"/>
              <a:gd name="connsiteX13" fmla="*/ 3153256 w 8655356"/>
              <a:gd name="connsiteY13" fmla="*/ 2587941 h 4709348"/>
              <a:gd name="connsiteX14" fmla="*/ 3153256 w 8655356"/>
              <a:gd name="connsiteY14" fmla="*/ 2394903 h 4709348"/>
              <a:gd name="connsiteX15" fmla="*/ 3104996 w 8655356"/>
              <a:gd name="connsiteY15" fmla="*/ 2346642 h 4709348"/>
              <a:gd name="connsiteX16" fmla="*/ 920596 w 8655356"/>
              <a:gd name="connsiteY16" fmla="*/ 940752 h 4709348"/>
              <a:gd name="connsiteX17" fmla="*/ 874875 w 8655356"/>
              <a:gd name="connsiteY17" fmla="*/ 986473 h 4709348"/>
              <a:gd name="connsiteX18" fmla="*/ 874875 w 8655356"/>
              <a:gd name="connsiteY18" fmla="*/ 1169351 h 4709348"/>
              <a:gd name="connsiteX19" fmla="*/ 920596 w 8655356"/>
              <a:gd name="connsiteY19" fmla="*/ 1215072 h 4709348"/>
              <a:gd name="connsiteX20" fmla="*/ 1114904 w 8655356"/>
              <a:gd name="connsiteY20" fmla="*/ 1215072 h 4709348"/>
              <a:gd name="connsiteX21" fmla="*/ 1160625 w 8655356"/>
              <a:gd name="connsiteY21" fmla="*/ 1169351 h 4709348"/>
              <a:gd name="connsiteX22" fmla="*/ 1160625 w 8655356"/>
              <a:gd name="connsiteY22" fmla="*/ 986473 h 4709348"/>
              <a:gd name="connsiteX23" fmla="*/ 1114904 w 8655356"/>
              <a:gd name="connsiteY23" fmla="*/ 940752 h 4709348"/>
              <a:gd name="connsiteX24" fmla="*/ 0 w 8655356"/>
              <a:gd name="connsiteY24" fmla="*/ 0 h 4709348"/>
              <a:gd name="connsiteX25" fmla="*/ 8655356 w 8655356"/>
              <a:gd name="connsiteY25" fmla="*/ 0 h 4709348"/>
              <a:gd name="connsiteX26" fmla="*/ 8655356 w 8655356"/>
              <a:gd name="connsiteY26" fmla="*/ 4709348 h 4709348"/>
              <a:gd name="connsiteX27" fmla="*/ 0 w 8655356"/>
              <a:gd name="connsiteY27" fmla="*/ 4709348 h 470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55356" h="4709348">
                <a:moveTo>
                  <a:pt x="1231747" y="2666682"/>
                </a:moveTo>
                <a:cubicBezTo>
                  <a:pt x="1205093" y="2666682"/>
                  <a:pt x="1183486" y="2688289"/>
                  <a:pt x="1183486" y="2714943"/>
                </a:cubicBezTo>
                <a:lnTo>
                  <a:pt x="1183486" y="2907981"/>
                </a:lnTo>
                <a:cubicBezTo>
                  <a:pt x="1183486" y="2934635"/>
                  <a:pt x="1205093" y="2956242"/>
                  <a:pt x="1231747" y="2956242"/>
                </a:cubicBezTo>
                <a:lnTo>
                  <a:pt x="3101184" y="2956242"/>
                </a:lnTo>
                <a:cubicBezTo>
                  <a:pt x="3127839" y="2956242"/>
                  <a:pt x="3149445" y="2934635"/>
                  <a:pt x="3149445" y="2907981"/>
                </a:cubicBezTo>
                <a:lnTo>
                  <a:pt x="3149445" y="2714943"/>
                </a:lnTo>
                <a:cubicBezTo>
                  <a:pt x="3149445" y="2688289"/>
                  <a:pt x="3127839" y="2666682"/>
                  <a:pt x="3101184" y="2666682"/>
                </a:cubicBezTo>
                <a:close/>
                <a:moveTo>
                  <a:pt x="1231747" y="2346642"/>
                </a:moveTo>
                <a:cubicBezTo>
                  <a:pt x="1205093" y="2346642"/>
                  <a:pt x="1183486" y="2368249"/>
                  <a:pt x="1183486" y="2394903"/>
                </a:cubicBezTo>
                <a:lnTo>
                  <a:pt x="1183486" y="2587941"/>
                </a:lnTo>
                <a:cubicBezTo>
                  <a:pt x="1183486" y="2614595"/>
                  <a:pt x="1205093" y="2636202"/>
                  <a:pt x="1231747" y="2636202"/>
                </a:cubicBezTo>
                <a:lnTo>
                  <a:pt x="3104996" y="2636202"/>
                </a:lnTo>
                <a:cubicBezTo>
                  <a:pt x="3131649" y="2636202"/>
                  <a:pt x="3153256" y="2614595"/>
                  <a:pt x="3153256" y="2587941"/>
                </a:cubicBezTo>
                <a:lnTo>
                  <a:pt x="3153256" y="2394903"/>
                </a:lnTo>
                <a:cubicBezTo>
                  <a:pt x="3153256" y="2368249"/>
                  <a:pt x="3131649" y="2346642"/>
                  <a:pt x="3104996" y="2346642"/>
                </a:cubicBezTo>
                <a:close/>
                <a:moveTo>
                  <a:pt x="920596" y="940752"/>
                </a:moveTo>
                <a:cubicBezTo>
                  <a:pt x="895345" y="940752"/>
                  <a:pt x="874875" y="961222"/>
                  <a:pt x="874875" y="986473"/>
                </a:cubicBezTo>
                <a:lnTo>
                  <a:pt x="874875" y="1169351"/>
                </a:lnTo>
                <a:cubicBezTo>
                  <a:pt x="874875" y="1194602"/>
                  <a:pt x="895345" y="1215072"/>
                  <a:pt x="920596" y="1215072"/>
                </a:cubicBezTo>
                <a:lnTo>
                  <a:pt x="1114904" y="1215072"/>
                </a:lnTo>
                <a:cubicBezTo>
                  <a:pt x="1140155" y="1215072"/>
                  <a:pt x="1160625" y="1194602"/>
                  <a:pt x="1160625" y="1169351"/>
                </a:cubicBezTo>
                <a:lnTo>
                  <a:pt x="1160625" y="986473"/>
                </a:lnTo>
                <a:cubicBezTo>
                  <a:pt x="1160625" y="961222"/>
                  <a:pt x="1140155" y="940752"/>
                  <a:pt x="1114904" y="940752"/>
                </a:cubicBezTo>
                <a:close/>
                <a:moveTo>
                  <a:pt x="0" y="0"/>
                </a:moveTo>
                <a:lnTo>
                  <a:pt x="8655356" y="0"/>
                </a:lnTo>
                <a:lnTo>
                  <a:pt x="8655356" y="4709348"/>
                </a:lnTo>
                <a:lnTo>
                  <a:pt x="0" y="4709348"/>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hart Placeholder 2">
            <a:extLst>
              <a:ext uri="{FF2B5EF4-FFF2-40B4-BE49-F238E27FC236}">
                <a16:creationId xmlns:a16="http://schemas.microsoft.com/office/drawing/2014/main" id="{C39CD960-A6A1-A3D0-CA86-7EBDB1F5A116}"/>
              </a:ext>
            </a:extLst>
          </p:cNvPr>
          <p:cNvSpPr>
            <a:spLocks noGrp="1"/>
          </p:cNvSpPr>
          <p:nvPr>
            <p:ph type="chart" sz="quarter" idx="21"/>
          </p:nvPr>
        </p:nvSpPr>
        <p:spPr>
          <a:xfrm>
            <a:off x="6625155" y="1665288"/>
            <a:ext cx="5130051" cy="4455725"/>
          </a:xfrm>
        </p:spPr>
        <p:txBody>
          <a:bodyPr/>
          <a:lstStyle/>
          <a:p>
            <a:pPr marL="342900" indent="-342900">
              <a:buFont typeface="+mj-lt"/>
              <a:buAutoNum type="arabicPeriod"/>
            </a:pPr>
            <a:r>
              <a:rPr lang="ar-SA" dirty="0"/>
              <a:t>تغير اللغة (عربي/إنجليزي)</a:t>
            </a:r>
          </a:p>
          <a:p>
            <a:pPr marL="342900" indent="-342900">
              <a:buFont typeface="+mj-lt"/>
              <a:buAutoNum type="arabicPeriod"/>
            </a:pPr>
            <a:r>
              <a:rPr lang="ar-SA" dirty="0"/>
              <a:t>اسم المستخدم</a:t>
            </a:r>
          </a:p>
          <a:p>
            <a:pPr marL="342900" indent="-342900">
              <a:buFont typeface="+mj-lt"/>
              <a:buAutoNum type="arabicPeriod"/>
            </a:pPr>
            <a:r>
              <a:rPr lang="ar-SA" dirty="0"/>
              <a:t>كلمة المرور</a:t>
            </a:r>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28963083-1379-3FC1-C595-C63728725239}"/>
              </a:ext>
            </a:extLst>
          </p:cNvPr>
          <p:cNvSpPr>
            <a:spLocks noGrp="1"/>
          </p:cNvSpPr>
          <p:nvPr>
            <p:ph type="sldNum" sz="quarter" idx="4"/>
          </p:nvPr>
        </p:nvSpPr>
        <p:spPr/>
        <p:txBody>
          <a:bodyPr/>
          <a:lstStyle/>
          <a:p>
            <a:fld id="{E75C2C89-F887-4946-9289-77479B29E3CB}" type="slidenum">
              <a:rPr lang="en-US" smtClean="0"/>
              <a:pPr/>
              <a:t>5</a:t>
            </a:fld>
            <a:endParaRPr lang="en-US"/>
          </a:p>
        </p:txBody>
      </p:sp>
      <p:sp>
        <p:nvSpPr>
          <p:cNvPr id="8" name="Title 7">
            <a:extLst>
              <a:ext uri="{FF2B5EF4-FFF2-40B4-BE49-F238E27FC236}">
                <a16:creationId xmlns:a16="http://schemas.microsoft.com/office/drawing/2014/main" id="{ED0119E7-AC09-7C22-03ED-EA89B6EE8259}"/>
              </a:ext>
            </a:extLst>
          </p:cNvPr>
          <p:cNvSpPr>
            <a:spLocks noGrp="1"/>
          </p:cNvSpPr>
          <p:nvPr>
            <p:ph type="title"/>
          </p:nvPr>
        </p:nvSpPr>
        <p:spPr/>
        <p:txBody>
          <a:bodyPr/>
          <a:lstStyle/>
          <a:p>
            <a:r>
              <a:rPr lang="ar-SA" dirty="0"/>
              <a:t>صفحة تسجيل الدخول</a:t>
            </a:r>
            <a:endParaRPr lang="en-US" dirty="0"/>
          </a:p>
        </p:txBody>
      </p:sp>
      <p:sp>
        <p:nvSpPr>
          <p:cNvPr id="12" name="TextBox 11">
            <a:extLst>
              <a:ext uri="{FF2B5EF4-FFF2-40B4-BE49-F238E27FC236}">
                <a16:creationId xmlns:a16="http://schemas.microsoft.com/office/drawing/2014/main" id="{8FBA484E-D50E-A77B-3333-BF4371AFA3A4}"/>
              </a:ext>
            </a:extLst>
          </p:cNvPr>
          <p:cNvSpPr txBox="1"/>
          <p:nvPr/>
        </p:nvSpPr>
        <p:spPr>
          <a:xfrm>
            <a:off x="1786890" y="2611518"/>
            <a:ext cx="110490" cy="240030"/>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3" name="TextBox 12">
            <a:extLst>
              <a:ext uri="{FF2B5EF4-FFF2-40B4-BE49-F238E27FC236}">
                <a16:creationId xmlns:a16="http://schemas.microsoft.com/office/drawing/2014/main" id="{DFFD0D80-F8BF-FA86-B6BE-4F8428811EBB}"/>
              </a:ext>
            </a:extLst>
          </p:cNvPr>
          <p:cNvSpPr txBox="1"/>
          <p:nvPr/>
        </p:nvSpPr>
        <p:spPr>
          <a:xfrm>
            <a:off x="3768090" y="4001591"/>
            <a:ext cx="110490" cy="240030"/>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4" name="TextBox 13">
            <a:extLst>
              <a:ext uri="{FF2B5EF4-FFF2-40B4-BE49-F238E27FC236}">
                <a16:creationId xmlns:a16="http://schemas.microsoft.com/office/drawing/2014/main" id="{EA4889A3-C7BF-3612-ED48-20F0FB84B87F}"/>
              </a:ext>
            </a:extLst>
          </p:cNvPr>
          <p:cNvSpPr txBox="1"/>
          <p:nvPr/>
        </p:nvSpPr>
        <p:spPr>
          <a:xfrm>
            <a:off x="3772708" y="4338719"/>
            <a:ext cx="110490" cy="240030"/>
          </a:xfrm>
          <a:prstGeom prst="rect">
            <a:avLst/>
          </a:prstGeom>
        </p:spPr>
        <p:txBody>
          <a:bodyPr vert="horz" wrap="none" lIns="0" tIns="0" rIns="0" bIns="0" rtlCol="0" anchor="t">
            <a:noAutofit/>
          </a:bodyPr>
          <a:lstStyle/>
          <a:p>
            <a:pPr algn="l"/>
            <a:r>
              <a:rPr lang="en-US" sz="2000" b="1" dirty="0">
                <a:solidFill>
                  <a:schemeClr val="bg1"/>
                </a:solidFill>
              </a:rPr>
              <a:t>3</a:t>
            </a:r>
          </a:p>
        </p:txBody>
      </p:sp>
    </p:spTree>
    <p:extLst>
      <p:ext uri="{BB962C8B-B14F-4D97-AF65-F5344CB8AC3E}">
        <p14:creationId xmlns:p14="http://schemas.microsoft.com/office/powerpoint/2010/main" val="4267157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6DECB-E3F6-8CF2-B6F2-951D08E060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F40A00-8C80-052F-9013-6D5E58B49D01}"/>
              </a:ext>
            </a:extLst>
          </p:cNvPr>
          <p:cNvSpPr>
            <a:spLocks noGrp="1"/>
          </p:cNvSpPr>
          <p:nvPr>
            <p:ph type="title"/>
          </p:nvPr>
        </p:nvSpPr>
        <p:spPr/>
        <p:txBody>
          <a:bodyPr/>
          <a:lstStyle/>
          <a:p>
            <a:r>
              <a:rPr lang="ar-SA" dirty="0"/>
              <a:t>الصفحة الرئيسية</a:t>
            </a:r>
            <a:endParaRPr lang="en-GB" dirty="0"/>
          </a:p>
        </p:txBody>
      </p:sp>
      <p:sp>
        <p:nvSpPr>
          <p:cNvPr id="3" name="Slide Number Placeholder 2">
            <a:extLst>
              <a:ext uri="{FF2B5EF4-FFF2-40B4-BE49-F238E27FC236}">
                <a16:creationId xmlns:a16="http://schemas.microsoft.com/office/drawing/2014/main" id="{B84715E1-731C-12E9-0BD5-941FB6B2799D}"/>
              </a:ext>
            </a:extLst>
          </p:cNvPr>
          <p:cNvSpPr>
            <a:spLocks noGrp="1"/>
          </p:cNvSpPr>
          <p:nvPr>
            <p:ph type="sldNum" sz="quarter" idx="4"/>
          </p:nvPr>
        </p:nvSpPr>
        <p:spPr/>
        <p:txBody>
          <a:bodyPr/>
          <a:lstStyle/>
          <a:p>
            <a:fld id="{E75C2C89-F887-4946-9289-77479B29E3CB}" type="slidenum">
              <a:rPr lang="en-US" smtClean="0"/>
              <a:pPr/>
              <a:t>6</a:t>
            </a:fld>
            <a:endParaRPr lang="en-US"/>
          </a:p>
        </p:txBody>
      </p:sp>
    </p:spTree>
    <p:extLst>
      <p:ext uri="{BB962C8B-B14F-4D97-AF65-F5344CB8AC3E}">
        <p14:creationId xmlns:p14="http://schemas.microsoft.com/office/powerpoint/2010/main" val="3879959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006DC2EB-2225-E70F-BA90-F8252AD6ABD1}"/>
              </a:ext>
            </a:extLst>
          </p:cNvPr>
          <p:cNvSpPr>
            <a:spLocks noGrp="1"/>
          </p:cNvSpPr>
          <p:nvPr>
            <p:ph type="chart" sz="quarter" idx="21"/>
          </p:nvPr>
        </p:nvSpPr>
        <p:spPr>
          <a:xfrm>
            <a:off x="6341223" y="1665288"/>
            <a:ext cx="5130051" cy="4455725"/>
          </a:xfrm>
        </p:spPr>
        <p:txBody>
          <a:bodyPr/>
          <a:lstStyle/>
          <a:p>
            <a:pPr marL="285750" indent="-285750" algn="r" rtl="1">
              <a:buFont typeface="Arial" panose="020B0604020202020204" pitchFamily="34" charset="0"/>
              <a:buChar char="•"/>
            </a:pPr>
            <a:r>
              <a:rPr lang="ar-EG" sz="1800" dirty="0"/>
              <a:t>بعد تسجيل الدخول يفتح النظام الصفحة الرئيسية، الصفحة الرئيسية تعرض الاستراتيجيات بجميع عناصرها ولكن تعرض فقط معلومات العناصر التي يرتبط بها المستخدم. تحتوي الصفحة الرئيسية على قائمة جانبية بها كل العناصر الأساسية للنظام وتكون كالتالي:</a:t>
            </a:r>
          </a:p>
          <a:p>
            <a:pPr marL="342900" indent="-342900" algn="r" rtl="1">
              <a:buFont typeface="+mj-lt"/>
              <a:buAutoNum type="arabicPeriod"/>
            </a:pPr>
            <a:r>
              <a:rPr lang="ar-EG" sz="1800" dirty="0"/>
              <a:t>الاستراتيجية</a:t>
            </a:r>
          </a:p>
          <a:p>
            <a:pPr marL="342900" indent="-342900" algn="r" rtl="1">
              <a:buFont typeface="+mj-lt"/>
              <a:buAutoNum type="arabicPeriod"/>
            </a:pPr>
            <a:r>
              <a:rPr lang="ar-EG" sz="1800" dirty="0"/>
              <a:t>جميع مؤشرات الأداء</a:t>
            </a:r>
          </a:p>
          <a:p>
            <a:pPr marL="342900" indent="-342900" algn="r" rtl="1">
              <a:buFont typeface="+mj-lt"/>
              <a:buAutoNum type="arabicPeriod"/>
            </a:pPr>
            <a:r>
              <a:rPr lang="ar-EG" sz="1800" dirty="0"/>
              <a:t>مركز المهام</a:t>
            </a:r>
          </a:p>
          <a:p>
            <a:pPr marL="342900" indent="-342900" algn="r" rtl="1">
              <a:buFont typeface="+mj-lt"/>
              <a:buAutoNum type="arabicPeriod"/>
            </a:pPr>
            <a:r>
              <a:rPr lang="ar-EG" sz="1800" dirty="0"/>
              <a:t>المبادرات</a:t>
            </a:r>
            <a:endParaRPr lang="en-US" dirty="0"/>
          </a:p>
          <a:p>
            <a:pPr marL="342900" indent="-342900" algn="r" rtl="1">
              <a:buFont typeface="+mj-lt"/>
              <a:buAutoNum type="arabicPeriod"/>
            </a:pPr>
            <a:r>
              <a:rPr lang="ar-SA" dirty="0"/>
              <a:t>التقارير </a:t>
            </a:r>
            <a:endParaRPr lang="ar-SA" sz="1800" dirty="0"/>
          </a:p>
          <a:p>
            <a:pPr marL="342900" indent="-342900" algn="r" rtl="1">
              <a:buFont typeface="+mj-lt"/>
              <a:buAutoNum type="arabicPeriod"/>
            </a:pPr>
            <a:r>
              <a:rPr lang="ar-SA" dirty="0"/>
              <a:t>لوحة أداء</a:t>
            </a:r>
            <a:endParaRPr lang="ar-SA" sz="1800" dirty="0"/>
          </a:p>
          <a:p>
            <a:pPr algn="r" rtl="1"/>
            <a:endParaRPr lang="ar-EG" sz="1800" dirty="0"/>
          </a:p>
          <a:p>
            <a:pPr algn="r" rtl="1"/>
            <a:endParaRPr lang="ar-EG" sz="1800" dirty="0"/>
          </a:p>
          <a:p>
            <a:endParaRPr lang="en-GB" dirty="0"/>
          </a:p>
        </p:txBody>
      </p:sp>
      <p:sp>
        <p:nvSpPr>
          <p:cNvPr id="5" name="Slide Number Placeholder 4">
            <a:extLst>
              <a:ext uri="{FF2B5EF4-FFF2-40B4-BE49-F238E27FC236}">
                <a16:creationId xmlns:a16="http://schemas.microsoft.com/office/drawing/2014/main" id="{3CA2CF36-E99A-4B0C-F290-B34BBB07F068}"/>
              </a:ext>
            </a:extLst>
          </p:cNvPr>
          <p:cNvSpPr>
            <a:spLocks noGrp="1"/>
          </p:cNvSpPr>
          <p:nvPr>
            <p:ph type="sldNum" sz="quarter" idx="4"/>
          </p:nvPr>
        </p:nvSpPr>
        <p:spPr/>
        <p:txBody>
          <a:bodyPr/>
          <a:lstStyle/>
          <a:p>
            <a:fld id="{E75C2C89-F887-4946-9289-77479B29E3CB}" type="slidenum">
              <a:rPr lang="en-US" smtClean="0"/>
              <a:pPr/>
              <a:t>7</a:t>
            </a:fld>
            <a:endParaRPr lang="en-US"/>
          </a:p>
        </p:txBody>
      </p:sp>
      <p:sp>
        <p:nvSpPr>
          <p:cNvPr id="8" name="Title 7">
            <a:extLst>
              <a:ext uri="{FF2B5EF4-FFF2-40B4-BE49-F238E27FC236}">
                <a16:creationId xmlns:a16="http://schemas.microsoft.com/office/drawing/2014/main" id="{F2427D8F-8B75-4B65-C633-9B033B72778B}"/>
              </a:ext>
            </a:extLst>
          </p:cNvPr>
          <p:cNvSpPr>
            <a:spLocks noGrp="1"/>
          </p:cNvSpPr>
          <p:nvPr>
            <p:ph type="title"/>
          </p:nvPr>
        </p:nvSpPr>
        <p:spPr/>
        <p:txBody>
          <a:bodyPr/>
          <a:lstStyle/>
          <a:p>
            <a:r>
              <a:rPr lang="ar-SA" dirty="0"/>
              <a:t>الصفحة الرئيسية </a:t>
            </a:r>
            <a:endParaRPr lang="en-US" dirty="0"/>
          </a:p>
        </p:txBody>
      </p:sp>
      <p:pic>
        <p:nvPicPr>
          <p:cNvPr id="10" name="Picture 9">
            <a:extLst>
              <a:ext uri="{FF2B5EF4-FFF2-40B4-BE49-F238E27FC236}">
                <a16:creationId xmlns:a16="http://schemas.microsoft.com/office/drawing/2014/main" id="{76984505-9C1A-01F4-CF90-29E6D590A0D4}"/>
              </a:ext>
            </a:extLst>
          </p:cNvPr>
          <p:cNvPicPr>
            <a:picLocks noChangeAspect="1"/>
          </p:cNvPicPr>
          <p:nvPr/>
        </p:nvPicPr>
        <p:blipFill>
          <a:blip r:embed="rId2"/>
          <a:stretch>
            <a:fillRect/>
          </a:stretch>
        </p:blipFill>
        <p:spPr>
          <a:xfrm>
            <a:off x="799380" y="2787061"/>
            <a:ext cx="6389298" cy="3379959"/>
          </a:xfrm>
          <a:prstGeom prst="rect">
            <a:avLst/>
          </a:prstGeom>
        </p:spPr>
      </p:pic>
      <p:sp>
        <p:nvSpPr>
          <p:cNvPr id="17" name="Free-form: Shape 16">
            <a:extLst>
              <a:ext uri="{FF2B5EF4-FFF2-40B4-BE49-F238E27FC236}">
                <a16:creationId xmlns:a16="http://schemas.microsoft.com/office/drawing/2014/main" id="{408B1FE2-923D-748B-E763-2F995F785C2B}"/>
              </a:ext>
            </a:extLst>
          </p:cNvPr>
          <p:cNvSpPr/>
          <p:nvPr/>
        </p:nvSpPr>
        <p:spPr>
          <a:xfrm>
            <a:off x="799380" y="2787061"/>
            <a:ext cx="6389298" cy="3379959"/>
          </a:xfrm>
          <a:custGeom>
            <a:avLst/>
            <a:gdLst>
              <a:gd name="connsiteX0" fmla="*/ 6104108 w 6389298"/>
              <a:gd name="connsiteY0" fmla="*/ 1608492 h 3379959"/>
              <a:gd name="connsiteX1" fmla="*/ 6065748 w 6389298"/>
              <a:gd name="connsiteY1" fmla="*/ 1646852 h 3379959"/>
              <a:gd name="connsiteX2" fmla="*/ 6065748 w 6389298"/>
              <a:gd name="connsiteY2" fmla="*/ 1818949 h 3379959"/>
              <a:gd name="connsiteX3" fmla="*/ 6104108 w 6389298"/>
              <a:gd name="connsiteY3" fmla="*/ 1857309 h 3379959"/>
              <a:gd name="connsiteX4" fmla="*/ 6257543 w 6389298"/>
              <a:gd name="connsiteY4" fmla="*/ 1857309 h 3379959"/>
              <a:gd name="connsiteX5" fmla="*/ 6295903 w 6389298"/>
              <a:gd name="connsiteY5" fmla="*/ 1818949 h 3379959"/>
              <a:gd name="connsiteX6" fmla="*/ 6295903 w 6389298"/>
              <a:gd name="connsiteY6" fmla="*/ 1646852 h 3379959"/>
              <a:gd name="connsiteX7" fmla="*/ 6257543 w 6389298"/>
              <a:gd name="connsiteY7" fmla="*/ 1608492 h 3379959"/>
              <a:gd name="connsiteX8" fmla="*/ 6104108 w 6389298"/>
              <a:gd name="connsiteY8" fmla="*/ 1335260 h 3379959"/>
              <a:gd name="connsiteX9" fmla="*/ 6065748 w 6389298"/>
              <a:gd name="connsiteY9" fmla="*/ 1373620 h 3379959"/>
              <a:gd name="connsiteX10" fmla="*/ 6065748 w 6389298"/>
              <a:gd name="connsiteY10" fmla="*/ 1545717 h 3379959"/>
              <a:gd name="connsiteX11" fmla="*/ 6104108 w 6389298"/>
              <a:gd name="connsiteY11" fmla="*/ 1584077 h 3379959"/>
              <a:gd name="connsiteX12" fmla="*/ 6257543 w 6389298"/>
              <a:gd name="connsiteY12" fmla="*/ 1584077 h 3379959"/>
              <a:gd name="connsiteX13" fmla="*/ 6295903 w 6389298"/>
              <a:gd name="connsiteY13" fmla="*/ 1545717 h 3379959"/>
              <a:gd name="connsiteX14" fmla="*/ 6295903 w 6389298"/>
              <a:gd name="connsiteY14" fmla="*/ 1373620 h 3379959"/>
              <a:gd name="connsiteX15" fmla="*/ 6257543 w 6389298"/>
              <a:gd name="connsiteY15" fmla="*/ 1335260 h 3379959"/>
              <a:gd name="connsiteX16" fmla="*/ 6104109 w 6389298"/>
              <a:gd name="connsiteY16" fmla="*/ 1068638 h 3379959"/>
              <a:gd name="connsiteX17" fmla="*/ 6065749 w 6389298"/>
              <a:gd name="connsiteY17" fmla="*/ 1106998 h 3379959"/>
              <a:gd name="connsiteX18" fmla="*/ 6065749 w 6389298"/>
              <a:gd name="connsiteY18" fmla="*/ 1279095 h 3379959"/>
              <a:gd name="connsiteX19" fmla="*/ 6104109 w 6389298"/>
              <a:gd name="connsiteY19" fmla="*/ 1317455 h 3379959"/>
              <a:gd name="connsiteX20" fmla="*/ 6257544 w 6389298"/>
              <a:gd name="connsiteY20" fmla="*/ 1317455 h 3379959"/>
              <a:gd name="connsiteX21" fmla="*/ 6295904 w 6389298"/>
              <a:gd name="connsiteY21" fmla="*/ 1279095 h 3379959"/>
              <a:gd name="connsiteX22" fmla="*/ 6295904 w 6389298"/>
              <a:gd name="connsiteY22" fmla="*/ 1106998 h 3379959"/>
              <a:gd name="connsiteX23" fmla="*/ 6257544 w 6389298"/>
              <a:gd name="connsiteY23" fmla="*/ 1068638 h 3379959"/>
              <a:gd name="connsiteX24" fmla="*/ 6104109 w 6389298"/>
              <a:gd name="connsiteY24" fmla="*/ 799511 h 3379959"/>
              <a:gd name="connsiteX25" fmla="*/ 6065749 w 6389298"/>
              <a:gd name="connsiteY25" fmla="*/ 837871 h 3379959"/>
              <a:gd name="connsiteX26" fmla="*/ 6065749 w 6389298"/>
              <a:gd name="connsiteY26" fmla="*/ 1009968 h 3379959"/>
              <a:gd name="connsiteX27" fmla="*/ 6104109 w 6389298"/>
              <a:gd name="connsiteY27" fmla="*/ 1048328 h 3379959"/>
              <a:gd name="connsiteX28" fmla="*/ 6257544 w 6389298"/>
              <a:gd name="connsiteY28" fmla="*/ 1048328 h 3379959"/>
              <a:gd name="connsiteX29" fmla="*/ 6295904 w 6389298"/>
              <a:gd name="connsiteY29" fmla="*/ 1009968 h 3379959"/>
              <a:gd name="connsiteX30" fmla="*/ 6295904 w 6389298"/>
              <a:gd name="connsiteY30" fmla="*/ 837871 h 3379959"/>
              <a:gd name="connsiteX31" fmla="*/ 6257544 w 6389298"/>
              <a:gd name="connsiteY31" fmla="*/ 799511 h 3379959"/>
              <a:gd name="connsiteX32" fmla="*/ 6104110 w 6389298"/>
              <a:gd name="connsiteY32" fmla="*/ 534030 h 3379959"/>
              <a:gd name="connsiteX33" fmla="*/ 6065750 w 6389298"/>
              <a:gd name="connsiteY33" fmla="*/ 572390 h 3379959"/>
              <a:gd name="connsiteX34" fmla="*/ 6065750 w 6389298"/>
              <a:gd name="connsiteY34" fmla="*/ 744487 h 3379959"/>
              <a:gd name="connsiteX35" fmla="*/ 6104110 w 6389298"/>
              <a:gd name="connsiteY35" fmla="*/ 782847 h 3379959"/>
              <a:gd name="connsiteX36" fmla="*/ 6257545 w 6389298"/>
              <a:gd name="connsiteY36" fmla="*/ 782847 h 3379959"/>
              <a:gd name="connsiteX37" fmla="*/ 6295905 w 6389298"/>
              <a:gd name="connsiteY37" fmla="*/ 744487 h 3379959"/>
              <a:gd name="connsiteX38" fmla="*/ 6295905 w 6389298"/>
              <a:gd name="connsiteY38" fmla="*/ 572390 h 3379959"/>
              <a:gd name="connsiteX39" fmla="*/ 6257545 w 6389298"/>
              <a:gd name="connsiteY39" fmla="*/ 534030 h 3379959"/>
              <a:gd name="connsiteX40" fmla="*/ 6104110 w 6389298"/>
              <a:gd name="connsiteY40" fmla="*/ 275347 h 3379959"/>
              <a:gd name="connsiteX41" fmla="*/ 6065750 w 6389298"/>
              <a:gd name="connsiteY41" fmla="*/ 313707 h 3379959"/>
              <a:gd name="connsiteX42" fmla="*/ 6065750 w 6389298"/>
              <a:gd name="connsiteY42" fmla="*/ 485804 h 3379959"/>
              <a:gd name="connsiteX43" fmla="*/ 6104110 w 6389298"/>
              <a:gd name="connsiteY43" fmla="*/ 524164 h 3379959"/>
              <a:gd name="connsiteX44" fmla="*/ 6257545 w 6389298"/>
              <a:gd name="connsiteY44" fmla="*/ 524164 h 3379959"/>
              <a:gd name="connsiteX45" fmla="*/ 6295905 w 6389298"/>
              <a:gd name="connsiteY45" fmla="*/ 485804 h 3379959"/>
              <a:gd name="connsiteX46" fmla="*/ 6295905 w 6389298"/>
              <a:gd name="connsiteY46" fmla="*/ 313707 h 3379959"/>
              <a:gd name="connsiteX47" fmla="*/ 6257545 w 6389298"/>
              <a:gd name="connsiteY47" fmla="*/ 275347 h 3379959"/>
              <a:gd name="connsiteX48" fmla="*/ 0 w 6389298"/>
              <a:gd name="connsiteY48" fmla="*/ 0 h 3379959"/>
              <a:gd name="connsiteX49" fmla="*/ 6389298 w 6389298"/>
              <a:gd name="connsiteY49" fmla="*/ 0 h 3379959"/>
              <a:gd name="connsiteX50" fmla="*/ 6389298 w 6389298"/>
              <a:gd name="connsiteY50" fmla="*/ 3379959 h 3379959"/>
              <a:gd name="connsiteX51" fmla="*/ 0 w 6389298"/>
              <a:gd name="connsiteY51" fmla="*/ 3379959 h 337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389298" h="3379959">
                <a:moveTo>
                  <a:pt x="6104108" y="1608492"/>
                </a:moveTo>
                <a:cubicBezTo>
                  <a:pt x="6082922" y="1608492"/>
                  <a:pt x="6065748" y="1625666"/>
                  <a:pt x="6065748" y="1646852"/>
                </a:cubicBezTo>
                <a:lnTo>
                  <a:pt x="6065748" y="1818949"/>
                </a:lnTo>
                <a:cubicBezTo>
                  <a:pt x="6065748" y="1840135"/>
                  <a:pt x="6082922" y="1857309"/>
                  <a:pt x="6104108" y="1857309"/>
                </a:cubicBezTo>
                <a:lnTo>
                  <a:pt x="6257543" y="1857309"/>
                </a:lnTo>
                <a:cubicBezTo>
                  <a:pt x="6278729" y="1857309"/>
                  <a:pt x="6295903" y="1840135"/>
                  <a:pt x="6295903" y="1818949"/>
                </a:cubicBezTo>
                <a:lnTo>
                  <a:pt x="6295903" y="1646852"/>
                </a:lnTo>
                <a:cubicBezTo>
                  <a:pt x="6295903" y="1625666"/>
                  <a:pt x="6278729" y="1608492"/>
                  <a:pt x="6257543" y="1608492"/>
                </a:cubicBezTo>
                <a:close/>
                <a:moveTo>
                  <a:pt x="6104108" y="1335260"/>
                </a:moveTo>
                <a:cubicBezTo>
                  <a:pt x="6082922" y="1335260"/>
                  <a:pt x="6065748" y="1352434"/>
                  <a:pt x="6065748" y="1373620"/>
                </a:cubicBezTo>
                <a:lnTo>
                  <a:pt x="6065748" y="1545717"/>
                </a:lnTo>
                <a:cubicBezTo>
                  <a:pt x="6065748" y="1566903"/>
                  <a:pt x="6082922" y="1584077"/>
                  <a:pt x="6104108" y="1584077"/>
                </a:cubicBezTo>
                <a:lnTo>
                  <a:pt x="6257543" y="1584077"/>
                </a:lnTo>
                <a:cubicBezTo>
                  <a:pt x="6278729" y="1584077"/>
                  <a:pt x="6295903" y="1566903"/>
                  <a:pt x="6295903" y="1545717"/>
                </a:cubicBezTo>
                <a:lnTo>
                  <a:pt x="6295903" y="1373620"/>
                </a:lnTo>
                <a:cubicBezTo>
                  <a:pt x="6295903" y="1352434"/>
                  <a:pt x="6278729" y="1335260"/>
                  <a:pt x="6257543" y="1335260"/>
                </a:cubicBezTo>
                <a:close/>
                <a:moveTo>
                  <a:pt x="6104109" y="1068638"/>
                </a:moveTo>
                <a:cubicBezTo>
                  <a:pt x="6082923" y="1068638"/>
                  <a:pt x="6065749" y="1085812"/>
                  <a:pt x="6065749" y="1106998"/>
                </a:cubicBezTo>
                <a:lnTo>
                  <a:pt x="6065749" y="1279095"/>
                </a:lnTo>
                <a:cubicBezTo>
                  <a:pt x="6065749" y="1300281"/>
                  <a:pt x="6082923" y="1317455"/>
                  <a:pt x="6104109" y="1317455"/>
                </a:cubicBezTo>
                <a:lnTo>
                  <a:pt x="6257544" y="1317455"/>
                </a:lnTo>
                <a:cubicBezTo>
                  <a:pt x="6278730" y="1317455"/>
                  <a:pt x="6295904" y="1300281"/>
                  <a:pt x="6295904" y="1279095"/>
                </a:cubicBezTo>
                <a:lnTo>
                  <a:pt x="6295904" y="1106998"/>
                </a:lnTo>
                <a:cubicBezTo>
                  <a:pt x="6295904" y="1085812"/>
                  <a:pt x="6278730" y="1068638"/>
                  <a:pt x="6257544" y="1068638"/>
                </a:cubicBezTo>
                <a:close/>
                <a:moveTo>
                  <a:pt x="6104109" y="799511"/>
                </a:moveTo>
                <a:cubicBezTo>
                  <a:pt x="6082923" y="799511"/>
                  <a:pt x="6065749" y="816685"/>
                  <a:pt x="6065749" y="837871"/>
                </a:cubicBezTo>
                <a:lnTo>
                  <a:pt x="6065749" y="1009968"/>
                </a:lnTo>
                <a:cubicBezTo>
                  <a:pt x="6065749" y="1031154"/>
                  <a:pt x="6082923" y="1048328"/>
                  <a:pt x="6104109" y="1048328"/>
                </a:cubicBezTo>
                <a:lnTo>
                  <a:pt x="6257544" y="1048328"/>
                </a:lnTo>
                <a:cubicBezTo>
                  <a:pt x="6278730" y="1048328"/>
                  <a:pt x="6295904" y="1031154"/>
                  <a:pt x="6295904" y="1009968"/>
                </a:cubicBezTo>
                <a:lnTo>
                  <a:pt x="6295904" y="837871"/>
                </a:lnTo>
                <a:cubicBezTo>
                  <a:pt x="6295904" y="816685"/>
                  <a:pt x="6278730" y="799511"/>
                  <a:pt x="6257544" y="799511"/>
                </a:cubicBezTo>
                <a:close/>
                <a:moveTo>
                  <a:pt x="6104110" y="534030"/>
                </a:moveTo>
                <a:cubicBezTo>
                  <a:pt x="6082924" y="534030"/>
                  <a:pt x="6065750" y="551204"/>
                  <a:pt x="6065750" y="572390"/>
                </a:cubicBezTo>
                <a:lnTo>
                  <a:pt x="6065750" y="744487"/>
                </a:lnTo>
                <a:cubicBezTo>
                  <a:pt x="6065750" y="765673"/>
                  <a:pt x="6082924" y="782847"/>
                  <a:pt x="6104110" y="782847"/>
                </a:cubicBezTo>
                <a:lnTo>
                  <a:pt x="6257545" y="782847"/>
                </a:lnTo>
                <a:cubicBezTo>
                  <a:pt x="6278731" y="782847"/>
                  <a:pt x="6295905" y="765673"/>
                  <a:pt x="6295905" y="744487"/>
                </a:cubicBezTo>
                <a:lnTo>
                  <a:pt x="6295905" y="572390"/>
                </a:lnTo>
                <a:cubicBezTo>
                  <a:pt x="6295905" y="551204"/>
                  <a:pt x="6278731" y="534030"/>
                  <a:pt x="6257545" y="534030"/>
                </a:cubicBezTo>
                <a:close/>
                <a:moveTo>
                  <a:pt x="6104110" y="275347"/>
                </a:moveTo>
                <a:cubicBezTo>
                  <a:pt x="6082924" y="275347"/>
                  <a:pt x="6065750" y="292521"/>
                  <a:pt x="6065750" y="313707"/>
                </a:cubicBezTo>
                <a:lnTo>
                  <a:pt x="6065750" y="485804"/>
                </a:lnTo>
                <a:cubicBezTo>
                  <a:pt x="6065750" y="506990"/>
                  <a:pt x="6082924" y="524164"/>
                  <a:pt x="6104110" y="524164"/>
                </a:cubicBezTo>
                <a:lnTo>
                  <a:pt x="6257545" y="524164"/>
                </a:lnTo>
                <a:cubicBezTo>
                  <a:pt x="6278731" y="524164"/>
                  <a:pt x="6295905" y="506990"/>
                  <a:pt x="6295905" y="485804"/>
                </a:cubicBezTo>
                <a:lnTo>
                  <a:pt x="6295905" y="313707"/>
                </a:lnTo>
                <a:cubicBezTo>
                  <a:pt x="6295905" y="292521"/>
                  <a:pt x="6278731" y="275347"/>
                  <a:pt x="6257545" y="275347"/>
                </a:cubicBezTo>
                <a:close/>
                <a:moveTo>
                  <a:pt x="0" y="0"/>
                </a:moveTo>
                <a:lnTo>
                  <a:pt x="6389298" y="0"/>
                </a:lnTo>
                <a:lnTo>
                  <a:pt x="6389298" y="3379959"/>
                </a:lnTo>
                <a:lnTo>
                  <a:pt x="0" y="3379959"/>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TextBox 17">
            <a:extLst>
              <a:ext uri="{FF2B5EF4-FFF2-40B4-BE49-F238E27FC236}">
                <a16:creationId xmlns:a16="http://schemas.microsoft.com/office/drawing/2014/main" id="{6A65E163-6358-F69C-7018-EF4FDF27502F}"/>
              </a:ext>
            </a:extLst>
          </p:cNvPr>
          <p:cNvSpPr txBox="1"/>
          <p:nvPr/>
        </p:nvSpPr>
        <p:spPr>
          <a:xfrm>
            <a:off x="6694039" y="3039589"/>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9" name="TextBox 18">
            <a:extLst>
              <a:ext uri="{FF2B5EF4-FFF2-40B4-BE49-F238E27FC236}">
                <a16:creationId xmlns:a16="http://schemas.microsoft.com/office/drawing/2014/main" id="{5A045C46-4A65-4B6E-072A-0A197E6D8982}"/>
              </a:ext>
            </a:extLst>
          </p:cNvPr>
          <p:cNvSpPr txBox="1"/>
          <p:nvPr/>
        </p:nvSpPr>
        <p:spPr>
          <a:xfrm>
            <a:off x="6694038" y="3320340"/>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20" name="TextBox 19">
            <a:extLst>
              <a:ext uri="{FF2B5EF4-FFF2-40B4-BE49-F238E27FC236}">
                <a16:creationId xmlns:a16="http://schemas.microsoft.com/office/drawing/2014/main" id="{C20F8183-B603-C84E-99DC-EFD3F867AE1D}"/>
              </a:ext>
            </a:extLst>
          </p:cNvPr>
          <p:cNvSpPr txBox="1"/>
          <p:nvPr/>
        </p:nvSpPr>
        <p:spPr>
          <a:xfrm>
            <a:off x="6694037" y="3580877"/>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21" name="TextBox 20">
            <a:extLst>
              <a:ext uri="{FF2B5EF4-FFF2-40B4-BE49-F238E27FC236}">
                <a16:creationId xmlns:a16="http://schemas.microsoft.com/office/drawing/2014/main" id="{949209FE-0825-00EC-9D66-236C3AED2F44}"/>
              </a:ext>
            </a:extLst>
          </p:cNvPr>
          <p:cNvSpPr txBox="1"/>
          <p:nvPr/>
        </p:nvSpPr>
        <p:spPr>
          <a:xfrm>
            <a:off x="6694036" y="3835021"/>
            <a:ext cx="129235" cy="280751"/>
          </a:xfrm>
          <a:prstGeom prst="rect">
            <a:avLst/>
          </a:prstGeom>
        </p:spPr>
        <p:txBody>
          <a:bodyPr vert="horz" wrap="none" lIns="0" tIns="0" rIns="0" bIns="0" rtlCol="0" anchor="t">
            <a:noAutofit/>
          </a:bodyPr>
          <a:lstStyle/>
          <a:p>
            <a:pPr algn="l"/>
            <a:r>
              <a:rPr lang="en-US" sz="2000" b="1" dirty="0">
                <a:solidFill>
                  <a:schemeClr val="bg1"/>
                </a:solidFill>
              </a:rPr>
              <a:t>4</a:t>
            </a:r>
          </a:p>
        </p:txBody>
      </p:sp>
      <p:sp>
        <p:nvSpPr>
          <p:cNvPr id="22" name="TextBox 21">
            <a:extLst>
              <a:ext uri="{FF2B5EF4-FFF2-40B4-BE49-F238E27FC236}">
                <a16:creationId xmlns:a16="http://schemas.microsoft.com/office/drawing/2014/main" id="{83D33BFF-F1DF-E252-AF9F-602BFAAF5451}"/>
              </a:ext>
            </a:extLst>
          </p:cNvPr>
          <p:cNvSpPr txBox="1"/>
          <p:nvPr/>
        </p:nvSpPr>
        <p:spPr>
          <a:xfrm>
            <a:off x="6694035" y="4092902"/>
            <a:ext cx="129235" cy="280751"/>
          </a:xfrm>
          <a:prstGeom prst="rect">
            <a:avLst/>
          </a:prstGeom>
        </p:spPr>
        <p:txBody>
          <a:bodyPr vert="horz" wrap="none" lIns="0" tIns="0" rIns="0" bIns="0" rtlCol="0" anchor="t">
            <a:noAutofit/>
          </a:bodyPr>
          <a:lstStyle/>
          <a:p>
            <a:pPr algn="l"/>
            <a:r>
              <a:rPr lang="en-US" sz="2000" b="1" dirty="0">
                <a:solidFill>
                  <a:schemeClr val="bg1"/>
                </a:solidFill>
              </a:rPr>
              <a:t>5</a:t>
            </a:r>
          </a:p>
        </p:txBody>
      </p:sp>
      <p:sp>
        <p:nvSpPr>
          <p:cNvPr id="23" name="TextBox 22">
            <a:extLst>
              <a:ext uri="{FF2B5EF4-FFF2-40B4-BE49-F238E27FC236}">
                <a16:creationId xmlns:a16="http://schemas.microsoft.com/office/drawing/2014/main" id="{F6266321-F9F4-4458-1662-5153032F8CEA}"/>
              </a:ext>
            </a:extLst>
          </p:cNvPr>
          <p:cNvSpPr txBox="1"/>
          <p:nvPr/>
        </p:nvSpPr>
        <p:spPr>
          <a:xfrm>
            <a:off x="6694034" y="4391865"/>
            <a:ext cx="129235" cy="280751"/>
          </a:xfrm>
          <a:prstGeom prst="rect">
            <a:avLst/>
          </a:prstGeom>
        </p:spPr>
        <p:txBody>
          <a:bodyPr vert="horz" wrap="none" lIns="0" tIns="0" rIns="0" bIns="0" rtlCol="0" anchor="t">
            <a:noAutofit/>
          </a:bodyPr>
          <a:lstStyle/>
          <a:p>
            <a:pPr algn="l"/>
            <a:r>
              <a:rPr lang="en-US" sz="2000" b="1" dirty="0">
                <a:solidFill>
                  <a:schemeClr val="bg1"/>
                </a:solidFill>
              </a:rPr>
              <a:t>6</a:t>
            </a:r>
          </a:p>
        </p:txBody>
      </p:sp>
    </p:spTree>
    <p:extLst>
      <p:ext uri="{BB962C8B-B14F-4D97-AF65-F5344CB8AC3E}">
        <p14:creationId xmlns:p14="http://schemas.microsoft.com/office/powerpoint/2010/main" val="3836504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695D5-A035-716D-DE4C-1EF2EADC2F28}"/>
            </a:ext>
          </a:extLst>
        </p:cNvPr>
        <p:cNvGrpSpPr/>
        <p:nvPr/>
      </p:nvGrpSpPr>
      <p:grpSpPr>
        <a:xfrm>
          <a:off x="0" y="0"/>
          <a:ext cx="0" cy="0"/>
          <a:chOff x="0" y="0"/>
          <a:chExt cx="0" cy="0"/>
        </a:xfrm>
      </p:grpSpPr>
      <p:sp>
        <p:nvSpPr>
          <p:cNvPr id="3" name="Chart Placeholder 2">
            <a:extLst>
              <a:ext uri="{FF2B5EF4-FFF2-40B4-BE49-F238E27FC236}">
                <a16:creationId xmlns:a16="http://schemas.microsoft.com/office/drawing/2014/main" id="{23A93425-398A-F37B-B053-F66BF3F8796A}"/>
              </a:ext>
            </a:extLst>
          </p:cNvPr>
          <p:cNvSpPr>
            <a:spLocks noGrp="1"/>
          </p:cNvSpPr>
          <p:nvPr>
            <p:ph type="chart" sz="quarter" idx="21"/>
          </p:nvPr>
        </p:nvSpPr>
        <p:spPr>
          <a:xfrm>
            <a:off x="8422640" y="1929806"/>
            <a:ext cx="3424554" cy="4455725"/>
          </a:xfrm>
        </p:spPr>
        <p:txBody>
          <a:bodyPr/>
          <a:lstStyle/>
          <a:p>
            <a:r>
              <a:rPr lang="ar-EG" sz="1800" dirty="0"/>
              <a:t>بعد تسجيل الدخول يفتح النظام الصفحة الرئيسية، الصفحة الرئيسية تعرض الاستراتيجيات بجميع عناصرها ولكن تعرض فقط معلومات العناصر التي يرتبط بها المستخدم.</a:t>
            </a:r>
            <a:endParaRPr lang="ar-SA" dirty="0"/>
          </a:p>
          <a:p>
            <a:pPr marL="342900" indent="-342900">
              <a:buFont typeface="+mj-lt"/>
              <a:buAutoNum type="arabicPeriod"/>
            </a:pPr>
            <a:r>
              <a:rPr lang="ar-SA" dirty="0"/>
              <a:t>الإستراتيجية(عرض عناصر الإستراتيجية في الصفحة الرئيسية)</a:t>
            </a:r>
          </a:p>
          <a:p>
            <a:pPr marL="342900" indent="-342900">
              <a:buFont typeface="+mj-lt"/>
              <a:buAutoNum type="arabicPeriod"/>
            </a:pPr>
            <a:r>
              <a:rPr lang="ar-SA" dirty="0"/>
              <a:t>تغيير اللغة</a:t>
            </a:r>
          </a:p>
          <a:p>
            <a:pPr marL="342900" indent="-342900">
              <a:buFont typeface="+mj-lt"/>
              <a:buAutoNum type="arabicPeriod"/>
            </a:pPr>
            <a:r>
              <a:rPr lang="ar-SA" dirty="0"/>
              <a:t>الاشعارات</a:t>
            </a:r>
          </a:p>
          <a:p>
            <a:pPr marL="342900" indent="-342900">
              <a:buFont typeface="+mj-lt"/>
              <a:buAutoNum type="arabicPeriod"/>
            </a:pPr>
            <a:r>
              <a:rPr lang="ar-SA" dirty="0"/>
              <a:t>إخفاء المبادئ (الرؤية، المحاور، المهمة، القيم)</a:t>
            </a:r>
          </a:p>
          <a:p>
            <a:pPr marL="342900" indent="-342900">
              <a:buFont typeface="+mj-lt"/>
              <a:buAutoNum type="arabicPeriod"/>
            </a:pPr>
            <a:r>
              <a:rPr lang="ar-SA" dirty="0"/>
              <a:t>كتيب (قاموس الحالات)</a:t>
            </a:r>
          </a:p>
          <a:p>
            <a:endParaRPr lang="ar-SA" dirty="0"/>
          </a:p>
          <a:p>
            <a:pPr marL="342900" indent="-342900">
              <a:buFont typeface="+mj-lt"/>
              <a:buAutoNum type="arabicPeriod"/>
            </a:pPr>
            <a:endParaRPr lang="ar-SA" dirty="0"/>
          </a:p>
          <a:p>
            <a:pPr marL="342900" indent="-342900">
              <a:buFont typeface="+mj-lt"/>
              <a:buAutoNum type="arabicPeriod"/>
            </a:pPr>
            <a:endParaRPr lang="ar-SA" dirty="0"/>
          </a:p>
          <a:p>
            <a:pPr marL="342900" indent="-342900">
              <a:buFont typeface="+mj-lt"/>
              <a:buAutoNum type="arabicPeriod"/>
            </a:pPr>
            <a:endParaRPr lang="en-US" dirty="0"/>
          </a:p>
        </p:txBody>
      </p:sp>
      <p:sp>
        <p:nvSpPr>
          <p:cNvPr id="5" name="Slide Number Placeholder 4">
            <a:extLst>
              <a:ext uri="{FF2B5EF4-FFF2-40B4-BE49-F238E27FC236}">
                <a16:creationId xmlns:a16="http://schemas.microsoft.com/office/drawing/2014/main" id="{B89D1F6C-2775-E3B0-A1CF-C25580817623}"/>
              </a:ext>
            </a:extLst>
          </p:cNvPr>
          <p:cNvSpPr>
            <a:spLocks noGrp="1"/>
          </p:cNvSpPr>
          <p:nvPr>
            <p:ph type="sldNum" sz="quarter" idx="4"/>
          </p:nvPr>
        </p:nvSpPr>
        <p:spPr/>
        <p:txBody>
          <a:bodyPr/>
          <a:lstStyle/>
          <a:p>
            <a:fld id="{E75C2C89-F887-4946-9289-77479B29E3CB}" type="slidenum">
              <a:rPr lang="en-US" smtClean="0"/>
              <a:pPr/>
              <a:t>8</a:t>
            </a:fld>
            <a:endParaRPr lang="en-US"/>
          </a:p>
        </p:txBody>
      </p:sp>
      <p:sp>
        <p:nvSpPr>
          <p:cNvPr id="8" name="Title 7">
            <a:extLst>
              <a:ext uri="{FF2B5EF4-FFF2-40B4-BE49-F238E27FC236}">
                <a16:creationId xmlns:a16="http://schemas.microsoft.com/office/drawing/2014/main" id="{94FB396E-8411-5B36-0ABC-C5C45A8F6575}"/>
              </a:ext>
            </a:extLst>
          </p:cNvPr>
          <p:cNvSpPr>
            <a:spLocks noGrp="1"/>
          </p:cNvSpPr>
          <p:nvPr>
            <p:ph type="title"/>
          </p:nvPr>
        </p:nvSpPr>
        <p:spPr/>
        <p:txBody>
          <a:bodyPr/>
          <a:lstStyle/>
          <a:p>
            <a:r>
              <a:rPr lang="ar-SA" dirty="0"/>
              <a:t>الإستراتيجية </a:t>
            </a:r>
            <a:endParaRPr lang="en-US" dirty="0"/>
          </a:p>
        </p:txBody>
      </p:sp>
      <p:pic>
        <p:nvPicPr>
          <p:cNvPr id="10" name="Picture 9">
            <a:extLst>
              <a:ext uri="{FF2B5EF4-FFF2-40B4-BE49-F238E27FC236}">
                <a16:creationId xmlns:a16="http://schemas.microsoft.com/office/drawing/2014/main" id="{68CD4AFB-474F-F7FC-AA75-B421A96B8241}"/>
              </a:ext>
            </a:extLst>
          </p:cNvPr>
          <p:cNvPicPr>
            <a:picLocks noChangeAspect="1"/>
          </p:cNvPicPr>
          <p:nvPr/>
        </p:nvPicPr>
        <p:blipFill>
          <a:blip r:embed="rId2"/>
          <a:stretch>
            <a:fillRect/>
          </a:stretch>
        </p:blipFill>
        <p:spPr>
          <a:xfrm>
            <a:off x="344806" y="1929806"/>
            <a:ext cx="7952380" cy="4206834"/>
          </a:xfrm>
          <a:prstGeom prst="rect">
            <a:avLst/>
          </a:prstGeom>
        </p:spPr>
      </p:pic>
      <p:sp>
        <p:nvSpPr>
          <p:cNvPr id="13" name="Free-form: Shape 12">
            <a:extLst>
              <a:ext uri="{FF2B5EF4-FFF2-40B4-BE49-F238E27FC236}">
                <a16:creationId xmlns:a16="http://schemas.microsoft.com/office/drawing/2014/main" id="{57962B40-F80C-451D-0928-21AD38AE3E72}"/>
              </a:ext>
            </a:extLst>
          </p:cNvPr>
          <p:cNvSpPr/>
          <p:nvPr/>
        </p:nvSpPr>
        <p:spPr>
          <a:xfrm>
            <a:off x="344807" y="1929806"/>
            <a:ext cx="7952380" cy="4206834"/>
          </a:xfrm>
          <a:custGeom>
            <a:avLst/>
            <a:gdLst>
              <a:gd name="connsiteX0" fmla="*/ 308723 w 7952380"/>
              <a:gd name="connsiteY0" fmla="*/ 356195 h 4206834"/>
              <a:gd name="connsiteX1" fmla="*/ 282052 w 7952380"/>
              <a:gd name="connsiteY1" fmla="*/ 382866 h 4206834"/>
              <a:gd name="connsiteX2" fmla="*/ 282052 w 7952380"/>
              <a:gd name="connsiteY2" fmla="*/ 509916 h 4206834"/>
              <a:gd name="connsiteX3" fmla="*/ 308723 w 7952380"/>
              <a:gd name="connsiteY3" fmla="*/ 536587 h 4206834"/>
              <a:gd name="connsiteX4" fmla="*/ 415401 w 7952380"/>
              <a:gd name="connsiteY4" fmla="*/ 536587 h 4206834"/>
              <a:gd name="connsiteX5" fmla="*/ 442072 w 7952380"/>
              <a:gd name="connsiteY5" fmla="*/ 509916 h 4206834"/>
              <a:gd name="connsiteX6" fmla="*/ 442072 w 7952380"/>
              <a:gd name="connsiteY6" fmla="*/ 382866 h 4206834"/>
              <a:gd name="connsiteX7" fmla="*/ 415401 w 7952380"/>
              <a:gd name="connsiteY7" fmla="*/ 356195 h 4206834"/>
              <a:gd name="connsiteX8" fmla="*/ 104824 w 7952380"/>
              <a:gd name="connsiteY8" fmla="*/ 356195 h 4206834"/>
              <a:gd name="connsiteX9" fmla="*/ 78153 w 7952380"/>
              <a:gd name="connsiteY9" fmla="*/ 382866 h 4206834"/>
              <a:gd name="connsiteX10" fmla="*/ 78153 w 7952380"/>
              <a:gd name="connsiteY10" fmla="*/ 509916 h 4206834"/>
              <a:gd name="connsiteX11" fmla="*/ 104824 w 7952380"/>
              <a:gd name="connsiteY11" fmla="*/ 536587 h 4206834"/>
              <a:gd name="connsiteX12" fmla="*/ 211502 w 7952380"/>
              <a:gd name="connsiteY12" fmla="*/ 536587 h 4206834"/>
              <a:gd name="connsiteX13" fmla="*/ 238173 w 7952380"/>
              <a:gd name="connsiteY13" fmla="*/ 509916 h 4206834"/>
              <a:gd name="connsiteX14" fmla="*/ 238173 w 7952380"/>
              <a:gd name="connsiteY14" fmla="*/ 382866 h 4206834"/>
              <a:gd name="connsiteX15" fmla="*/ 211502 w 7952380"/>
              <a:gd name="connsiteY15" fmla="*/ 356195 h 4206834"/>
              <a:gd name="connsiteX16" fmla="*/ 7607857 w 7952380"/>
              <a:gd name="connsiteY16" fmla="*/ 356194 h 4206834"/>
              <a:gd name="connsiteX17" fmla="*/ 7566153 w 7952380"/>
              <a:gd name="connsiteY17" fmla="*/ 397898 h 4206834"/>
              <a:gd name="connsiteX18" fmla="*/ 7566153 w 7952380"/>
              <a:gd name="connsiteY18" fmla="*/ 616179 h 4206834"/>
              <a:gd name="connsiteX19" fmla="*/ 7607857 w 7952380"/>
              <a:gd name="connsiteY19" fmla="*/ 657883 h 4206834"/>
              <a:gd name="connsiteX20" fmla="*/ 7774665 w 7952380"/>
              <a:gd name="connsiteY20" fmla="*/ 657883 h 4206834"/>
              <a:gd name="connsiteX21" fmla="*/ 7816369 w 7952380"/>
              <a:gd name="connsiteY21" fmla="*/ 616179 h 4206834"/>
              <a:gd name="connsiteX22" fmla="*/ 7816369 w 7952380"/>
              <a:gd name="connsiteY22" fmla="*/ 397898 h 4206834"/>
              <a:gd name="connsiteX23" fmla="*/ 7774665 w 7952380"/>
              <a:gd name="connsiteY23" fmla="*/ 356194 h 4206834"/>
              <a:gd name="connsiteX24" fmla="*/ 1020964 w 7952380"/>
              <a:gd name="connsiteY24" fmla="*/ 73167 h 4206834"/>
              <a:gd name="connsiteX25" fmla="*/ 994293 w 7952380"/>
              <a:gd name="connsiteY25" fmla="*/ 99838 h 4206834"/>
              <a:gd name="connsiteX26" fmla="*/ 994293 w 7952380"/>
              <a:gd name="connsiteY26" fmla="*/ 226887 h 4206834"/>
              <a:gd name="connsiteX27" fmla="*/ 1020964 w 7952380"/>
              <a:gd name="connsiteY27" fmla="*/ 253558 h 4206834"/>
              <a:gd name="connsiteX28" fmla="*/ 1127642 w 7952380"/>
              <a:gd name="connsiteY28" fmla="*/ 253558 h 4206834"/>
              <a:gd name="connsiteX29" fmla="*/ 1154313 w 7952380"/>
              <a:gd name="connsiteY29" fmla="*/ 226887 h 4206834"/>
              <a:gd name="connsiteX30" fmla="*/ 1154313 w 7952380"/>
              <a:gd name="connsiteY30" fmla="*/ 99838 h 4206834"/>
              <a:gd name="connsiteX31" fmla="*/ 1127642 w 7952380"/>
              <a:gd name="connsiteY31" fmla="*/ 73167 h 4206834"/>
              <a:gd name="connsiteX32" fmla="*/ 827940 w 7952380"/>
              <a:gd name="connsiteY32" fmla="*/ 73166 h 4206834"/>
              <a:gd name="connsiteX33" fmla="*/ 801269 w 7952380"/>
              <a:gd name="connsiteY33" fmla="*/ 99837 h 4206834"/>
              <a:gd name="connsiteX34" fmla="*/ 801269 w 7952380"/>
              <a:gd name="connsiteY34" fmla="*/ 226887 h 4206834"/>
              <a:gd name="connsiteX35" fmla="*/ 827940 w 7952380"/>
              <a:gd name="connsiteY35" fmla="*/ 253558 h 4206834"/>
              <a:gd name="connsiteX36" fmla="*/ 934618 w 7952380"/>
              <a:gd name="connsiteY36" fmla="*/ 253558 h 4206834"/>
              <a:gd name="connsiteX37" fmla="*/ 961289 w 7952380"/>
              <a:gd name="connsiteY37" fmla="*/ 226887 h 4206834"/>
              <a:gd name="connsiteX38" fmla="*/ 961289 w 7952380"/>
              <a:gd name="connsiteY38" fmla="*/ 99837 h 4206834"/>
              <a:gd name="connsiteX39" fmla="*/ 934618 w 7952380"/>
              <a:gd name="connsiteY39" fmla="*/ 73166 h 4206834"/>
              <a:gd name="connsiteX40" fmla="*/ 0 w 7952380"/>
              <a:gd name="connsiteY40" fmla="*/ 0 h 4206834"/>
              <a:gd name="connsiteX41" fmla="*/ 7952380 w 7952380"/>
              <a:gd name="connsiteY41" fmla="*/ 0 h 4206834"/>
              <a:gd name="connsiteX42" fmla="*/ 7952380 w 7952380"/>
              <a:gd name="connsiteY42" fmla="*/ 4206834 h 4206834"/>
              <a:gd name="connsiteX43" fmla="*/ 0 w 7952380"/>
              <a:gd name="connsiteY43" fmla="*/ 4206834 h 420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952380" h="4206834">
                <a:moveTo>
                  <a:pt x="308723" y="356195"/>
                </a:moveTo>
                <a:cubicBezTo>
                  <a:pt x="293993" y="356195"/>
                  <a:pt x="282052" y="368136"/>
                  <a:pt x="282052" y="382866"/>
                </a:cubicBezTo>
                <a:lnTo>
                  <a:pt x="282052" y="509916"/>
                </a:lnTo>
                <a:cubicBezTo>
                  <a:pt x="282052" y="524646"/>
                  <a:pt x="293993" y="536587"/>
                  <a:pt x="308723" y="536587"/>
                </a:cubicBezTo>
                <a:lnTo>
                  <a:pt x="415401" y="536587"/>
                </a:lnTo>
                <a:cubicBezTo>
                  <a:pt x="430131" y="536587"/>
                  <a:pt x="442072" y="524646"/>
                  <a:pt x="442072" y="509916"/>
                </a:cubicBezTo>
                <a:lnTo>
                  <a:pt x="442072" y="382866"/>
                </a:lnTo>
                <a:cubicBezTo>
                  <a:pt x="442072" y="368136"/>
                  <a:pt x="430131" y="356195"/>
                  <a:pt x="415401" y="356195"/>
                </a:cubicBezTo>
                <a:close/>
                <a:moveTo>
                  <a:pt x="104824" y="356195"/>
                </a:moveTo>
                <a:cubicBezTo>
                  <a:pt x="90094" y="356195"/>
                  <a:pt x="78153" y="368136"/>
                  <a:pt x="78153" y="382866"/>
                </a:cubicBezTo>
                <a:lnTo>
                  <a:pt x="78153" y="509916"/>
                </a:lnTo>
                <a:cubicBezTo>
                  <a:pt x="78153" y="524646"/>
                  <a:pt x="90094" y="536587"/>
                  <a:pt x="104824" y="536587"/>
                </a:cubicBezTo>
                <a:lnTo>
                  <a:pt x="211502" y="536587"/>
                </a:lnTo>
                <a:cubicBezTo>
                  <a:pt x="226232" y="536587"/>
                  <a:pt x="238173" y="524646"/>
                  <a:pt x="238173" y="509916"/>
                </a:cubicBezTo>
                <a:lnTo>
                  <a:pt x="238173" y="382866"/>
                </a:lnTo>
                <a:cubicBezTo>
                  <a:pt x="238173" y="368136"/>
                  <a:pt x="226232" y="356195"/>
                  <a:pt x="211502" y="356195"/>
                </a:cubicBezTo>
                <a:close/>
                <a:moveTo>
                  <a:pt x="7607857" y="356194"/>
                </a:moveTo>
                <a:cubicBezTo>
                  <a:pt x="7584825" y="356194"/>
                  <a:pt x="7566153" y="374866"/>
                  <a:pt x="7566153" y="397898"/>
                </a:cubicBezTo>
                <a:lnTo>
                  <a:pt x="7566153" y="616179"/>
                </a:lnTo>
                <a:cubicBezTo>
                  <a:pt x="7566153" y="639211"/>
                  <a:pt x="7584825" y="657883"/>
                  <a:pt x="7607857" y="657883"/>
                </a:cubicBezTo>
                <a:lnTo>
                  <a:pt x="7774665" y="657883"/>
                </a:lnTo>
                <a:cubicBezTo>
                  <a:pt x="7797697" y="657883"/>
                  <a:pt x="7816369" y="639211"/>
                  <a:pt x="7816369" y="616179"/>
                </a:cubicBezTo>
                <a:lnTo>
                  <a:pt x="7816369" y="397898"/>
                </a:lnTo>
                <a:cubicBezTo>
                  <a:pt x="7816369" y="374866"/>
                  <a:pt x="7797697" y="356194"/>
                  <a:pt x="7774665" y="356194"/>
                </a:cubicBezTo>
                <a:close/>
                <a:moveTo>
                  <a:pt x="1020964" y="73167"/>
                </a:moveTo>
                <a:cubicBezTo>
                  <a:pt x="1006234" y="73167"/>
                  <a:pt x="994293" y="85108"/>
                  <a:pt x="994293" y="99838"/>
                </a:cubicBezTo>
                <a:lnTo>
                  <a:pt x="994293" y="226887"/>
                </a:lnTo>
                <a:cubicBezTo>
                  <a:pt x="994293" y="241617"/>
                  <a:pt x="1006234" y="253558"/>
                  <a:pt x="1020964" y="253558"/>
                </a:cubicBezTo>
                <a:lnTo>
                  <a:pt x="1127642" y="253558"/>
                </a:lnTo>
                <a:cubicBezTo>
                  <a:pt x="1142372" y="253558"/>
                  <a:pt x="1154313" y="241617"/>
                  <a:pt x="1154313" y="226887"/>
                </a:cubicBezTo>
                <a:lnTo>
                  <a:pt x="1154313" y="99838"/>
                </a:lnTo>
                <a:cubicBezTo>
                  <a:pt x="1154313" y="85108"/>
                  <a:pt x="1142372" y="73167"/>
                  <a:pt x="1127642" y="73167"/>
                </a:cubicBezTo>
                <a:close/>
                <a:moveTo>
                  <a:pt x="827940" y="73166"/>
                </a:moveTo>
                <a:cubicBezTo>
                  <a:pt x="813210" y="73166"/>
                  <a:pt x="801269" y="85107"/>
                  <a:pt x="801269" y="99837"/>
                </a:cubicBezTo>
                <a:lnTo>
                  <a:pt x="801269" y="226887"/>
                </a:lnTo>
                <a:cubicBezTo>
                  <a:pt x="801269" y="241617"/>
                  <a:pt x="813210" y="253558"/>
                  <a:pt x="827940" y="253558"/>
                </a:cubicBezTo>
                <a:lnTo>
                  <a:pt x="934618" y="253558"/>
                </a:lnTo>
                <a:cubicBezTo>
                  <a:pt x="949348" y="253558"/>
                  <a:pt x="961289" y="241617"/>
                  <a:pt x="961289" y="226887"/>
                </a:cubicBezTo>
                <a:lnTo>
                  <a:pt x="961289" y="99837"/>
                </a:lnTo>
                <a:cubicBezTo>
                  <a:pt x="961289" y="85107"/>
                  <a:pt x="949348" y="73166"/>
                  <a:pt x="934618" y="73166"/>
                </a:cubicBezTo>
                <a:close/>
                <a:moveTo>
                  <a:pt x="0" y="0"/>
                </a:moveTo>
                <a:lnTo>
                  <a:pt x="7952380" y="0"/>
                </a:lnTo>
                <a:lnTo>
                  <a:pt x="7952380" y="4206834"/>
                </a:lnTo>
                <a:lnTo>
                  <a:pt x="0" y="4206834"/>
                </a:lnTo>
                <a:close/>
              </a:path>
            </a:pathLst>
          </a:custGeom>
          <a:solidFill>
            <a:schemeClr val="tx1">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extBox 13">
            <a:extLst>
              <a:ext uri="{FF2B5EF4-FFF2-40B4-BE49-F238E27FC236}">
                <a16:creationId xmlns:a16="http://schemas.microsoft.com/office/drawing/2014/main" id="{8B60D4FE-B1B6-5B3D-580F-45FE14946FE8}"/>
              </a:ext>
            </a:extLst>
          </p:cNvPr>
          <p:cNvSpPr txBox="1"/>
          <p:nvPr/>
        </p:nvSpPr>
        <p:spPr>
          <a:xfrm>
            <a:off x="7753738" y="2298783"/>
            <a:ext cx="129235" cy="280751"/>
          </a:xfrm>
          <a:prstGeom prst="rect">
            <a:avLst/>
          </a:prstGeom>
        </p:spPr>
        <p:txBody>
          <a:bodyPr vert="horz" wrap="none" lIns="0" tIns="0" rIns="0" bIns="0" rtlCol="0" anchor="t">
            <a:noAutofit/>
          </a:bodyPr>
          <a:lstStyle/>
          <a:p>
            <a:pPr algn="l"/>
            <a:r>
              <a:rPr lang="en-US" sz="2000" b="1" dirty="0">
                <a:solidFill>
                  <a:schemeClr val="bg1"/>
                </a:solidFill>
              </a:rPr>
              <a:t>1</a:t>
            </a:r>
          </a:p>
        </p:txBody>
      </p:sp>
      <p:sp>
        <p:nvSpPr>
          <p:cNvPr id="15" name="TextBox 14">
            <a:extLst>
              <a:ext uri="{FF2B5EF4-FFF2-40B4-BE49-F238E27FC236}">
                <a16:creationId xmlns:a16="http://schemas.microsoft.com/office/drawing/2014/main" id="{FC359B5C-9DD2-73C0-4AD5-B6492054759B}"/>
              </a:ext>
            </a:extLst>
          </p:cNvPr>
          <p:cNvSpPr txBox="1"/>
          <p:nvPr/>
        </p:nvSpPr>
        <p:spPr>
          <a:xfrm>
            <a:off x="1365379" y="2158407"/>
            <a:ext cx="129235" cy="280751"/>
          </a:xfrm>
          <a:prstGeom prst="rect">
            <a:avLst/>
          </a:prstGeom>
        </p:spPr>
        <p:txBody>
          <a:bodyPr vert="horz" wrap="none" lIns="0" tIns="0" rIns="0" bIns="0" rtlCol="0" anchor="t">
            <a:noAutofit/>
          </a:bodyPr>
          <a:lstStyle/>
          <a:p>
            <a:pPr algn="l"/>
            <a:r>
              <a:rPr lang="en-US" sz="2000" b="1" dirty="0">
                <a:solidFill>
                  <a:schemeClr val="bg1"/>
                </a:solidFill>
              </a:rPr>
              <a:t>2</a:t>
            </a:r>
          </a:p>
        </p:txBody>
      </p:sp>
      <p:sp>
        <p:nvSpPr>
          <p:cNvPr id="16" name="TextBox 15">
            <a:extLst>
              <a:ext uri="{FF2B5EF4-FFF2-40B4-BE49-F238E27FC236}">
                <a16:creationId xmlns:a16="http://schemas.microsoft.com/office/drawing/2014/main" id="{8EE981B7-366B-B136-F166-D0FBE751AA28}"/>
              </a:ext>
            </a:extLst>
          </p:cNvPr>
          <p:cNvSpPr txBox="1"/>
          <p:nvPr/>
        </p:nvSpPr>
        <p:spPr>
          <a:xfrm>
            <a:off x="1171526" y="2158407"/>
            <a:ext cx="129235" cy="280751"/>
          </a:xfrm>
          <a:prstGeom prst="rect">
            <a:avLst/>
          </a:prstGeom>
        </p:spPr>
        <p:txBody>
          <a:bodyPr vert="horz" wrap="none" lIns="0" tIns="0" rIns="0" bIns="0" rtlCol="0" anchor="t">
            <a:noAutofit/>
          </a:bodyPr>
          <a:lstStyle/>
          <a:p>
            <a:pPr algn="l"/>
            <a:r>
              <a:rPr lang="en-US" sz="2000" b="1" dirty="0">
                <a:solidFill>
                  <a:schemeClr val="bg1"/>
                </a:solidFill>
              </a:rPr>
              <a:t>3</a:t>
            </a:r>
          </a:p>
        </p:txBody>
      </p:sp>
      <p:sp>
        <p:nvSpPr>
          <p:cNvPr id="17" name="TextBox 16">
            <a:extLst>
              <a:ext uri="{FF2B5EF4-FFF2-40B4-BE49-F238E27FC236}">
                <a16:creationId xmlns:a16="http://schemas.microsoft.com/office/drawing/2014/main" id="{CE655523-F918-5BFC-22DD-F38BB76BCFE8}"/>
              </a:ext>
            </a:extLst>
          </p:cNvPr>
          <p:cNvSpPr txBox="1"/>
          <p:nvPr/>
        </p:nvSpPr>
        <p:spPr>
          <a:xfrm>
            <a:off x="650033" y="2464703"/>
            <a:ext cx="129235" cy="280751"/>
          </a:xfrm>
          <a:prstGeom prst="rect">
            <a:avLst/>
          </a:prstGeom>
        </p:spPr>
        <p:txBody>
          <a:bodyPr vert="horz" wrap="none" lIns="0" tIns="0" rIns="0" bIns="0" rtlCol="0" anchor="t">
            <a:noAutofit/>
          </a:bodyPr>
          <a:lstStyle/>
          <a:p>
            <a:pPr algn="l"/>
            <a:r>
              <a:rPr lang="en-US" sz="2000" b="1" dirty="0">
                <a:solidFill>
                  <a:schemeClr val="bg1"/>
                </a:solidFill>
              </a:rPr>
              <a:t>4</a:t>
            </a:r>
          </a:p>
        </p:txBody>
      </p:sp>
      <p:sp>
        <p:nvSpPr>
          <p:cNvPr id="18" name="TextBox 17">
            <a:extLst>
              <a:ext uri="{FF2B5EF4-FFF2-40B4-BE49-F238E27FC236}">
                <a16:creationId xmlns:a16="http://schemas.microsoft.com/office/drawing/2014/main" id="{BED9C540-AC0D-99E2-2985-C4CAB3FDD7AD}"/>
              </a:ext>
            </a:extLst>
          </p:cNvPr>
          <p:cNvSpPr txBox="1"/>
          <p:nvPr/>
        </p:nvSpPr>
        <p:spPr>
          <a:xfrm>
            <a:off x="432803" y="2464702"/>
            <a:ext cx="129235" cy="280751"/>
          </a:xfrm>
          <a:prstGeom prst="rect">
            <a:avLst/>
          </a:prstGeom>
        </p:spPr>
        <p:txBody>
          <a:bodyPr vert="horz" wrap="none" lIns="0" tIns="0" rIns="0" bIns="0" rtlCol="0" anchor="t">
            <a:noAutofit/>
          </a:bodyPr>
          <a:lstStyle/>
          <a:p>
            <a:pPr algn="l"/>
            <a:r>
              <a:rPr lang="en-US" sz="2000" b="1" dirty="0">
                <a:solidFill>
                  <a:schemeClr val="bg1"/>
                </a:solidFill>
              </a:rPr>
              <a:t>5</a:t>
            </a:r>
          </a:p>
        </p:txBody>
      </p:sp>
      <p:sp>
        <p:nvSpPr>
          <p:cNvPr id="6" name="Text Placeholder 6">
            <a:extLst>
              <a:ext uri="{FF2B5EF4-FFF2-40B4-BE49-F238E27FC236}">
                <a16:creationId xmlns:a16="http://schemas.microsoft.com/office/drawing/2014/main" id="{48877D57-9449-DC9F-A938-A355A18F2D43}"/>
              </a:ext>
            </a:extLst>
          </p:cNvPr>
          <p:cNvSpPr txBox="1">
            <a:spLocks/>
          </p:cNvSpPr>
          <p:nvPr/>
        </p:nvSpPr>
        <p:spPr>
          <a:xfrm>
            <a:off x="534825" y="621101"/>
            <a:ext cx="10936449" cy="757255"/>
          </a:xfrm>
          <a:prstGeom prst="rect">
            <a:avLst/>
          </a:prstGeom>
        </p:spPr>
        <p:txBody>
          <a:bodyPr vert="horz" lIns="0" tIns="0" rIns="0" bIns="0" rtlCol="0">
            <a:noAutofit/>
          </a:bodyPr>
          <a:lstStyle>
            <a:lvl1pPr marL="0" indent="0" algn="r" defTabSz="914400" rtl="1" eaLnBrk="1" latinLnBrk="0" hangingPunct="1">
              <a:lnSpc>
                <a:spcPct val="90000"/>
              </a:lnSpc>
              <a:spcBef>
                <a:spcPts val="1000"/>
              </a:spcBef>
              <a:buFont typeface="Arial" panose="020B0604020202020204" pitchFamily="34" charset="0"/>
              <a:buNone/>
              <a:defRPr sz="2400" b="0" i="0" kern="1200">
                <a:solidFill>
                  <a:schemeClr val="accent2"/>
                </a:solidFill>
                <a:latin typeface="+mn-lt"/>
                <a:ea typeface="+mn-ea"/>
                <a:cs typeface="+mn-cs"/>
              </a:defRPr>
            </a:lvl1pPr>
            <a:lvl2pPr marL="0" indent="0" algn="r" defTabSz="914400" rtl="1" eaLnBrk="1" latinLnBrk="0" hangingPunct="1">
              <a:lnSpc>
                <a:spcPct val="90000"/>
              </a:lnSpc>
              <a:spcBef>
                <a:spcPts val="500"/>
              </a:spcBef>
              <a:buClr>
                <a:schemeClr val="accent1"/>
              </a:buClr>
              <a:buFont typeface="Arial" panose="020B0604020202020204" pitchFamily="34" charset="0"/>
              <a:buNone/>
              <a:defRPr sz="2400" b="0" i="0" kern="1200">
                <a:solidFill>
                  <a:schemeClr val="tx1"/>
                </a:solidFill>
                <a:latin typeface="+mn-lt"/>
                <a:ea typeface="+mn-ea"/>
                <a:cs typeface="+mn-cs"/>
              </a:defRPr>
            </a:lvl2pPr>
            <a:lvl3pPr marL="0" indent="-228600" algn="r" defTabSz="914400" rtl="1" eaLnBrk="1" latinLnBrk="0" hangingPunct="1">
              <a:lnSpc>
                <a:spcPct val="90000"/>
              </a:lnSpc>
              <a:spcBef>
                <a:spcPts val="500"/>
              </a:spcBef>
              <a:buClrTx/>
              <a:buFont typeface="Arial" panose="020B0604020202020204" pitchFamily="34" charset="0"/>
              <a:buChar char="•"/>
              <a:defRPr sz="1800" b="0" i="0" kern="1200">
                <a:solidFill>
                  <a:schemeClr val="tx1"/>
                </a:solidFill>
                <a:latin typeface="+mn-lt"/>
                <a:ea typeface="+mn-ea"/>
                <a:cs typeface="+mn-cs"/>
              </a:defRPr>
            </a:lvl3pPr>
            <a:lvl4pPr marL="460800" indent="-228600" algn="r" defTabSz="914400" rtl="1" eaLnBrk="1" latinLnBrk="0" hangingPunct="1">
              <a:lnSpc>
                <a:spcPct val="90000"/>
              </a:lnSpc>
              <a:spcBef>
                <a:spcPts val="500"/>
              </a:spcBef>
              <a:buClrTx/>
              <a:buFont typeface="Arial" panose="020B0604020202020204" pitchFamily="34" charset="0"/>
              <a:buChar char="•"/>
              <a:defRPr sz="1600" b="0" i="0" kern="1200">
                <a:solidFill>
                  <a:schemeClr val="tx1"/>
                </a:solidFill>
                <a:latin typeface="+mn-lt"/>
                <a:ea typeface="+mn-ea"/>
                <a:cs typeface="+mn-cs"/>
              </a:defRPr>
            </a:lvl4pPr>
            <a:lvl5pPr marL="691200" indent="-228600" algn="r" defTabSz="914400" rtl="1" eaLnBrk="1" latinLnBrk="0" hangingPunct="1">
              <a:lnSpc>
                <a:spcPct val="90000"/>
              </a:lnSpc>
              <a:spcBef>
                <a:spcPts val="500"/>
              </a:spcBef>
              <a:buClrTx/>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t>نظرة عامة</a:t>
            </a:r>
            <a:endParaRPr lang="en-US" dirty="0"/>
          </a:p>
        </p:txBody>
      </p:sp>
    </p:spTree>
    <p:extLst>
      <p:ext uri="{BB962C8B-B14F-4D97-AF65-F5344CB8AC3E}">
        <p14:creationId xmlns:p14="http://schemas.microsoft.com/office/powerpoint/2010/main" val="1910391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93036-CF86-E9BD-C727-3A82E44AE6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0AA08D-55F1-FA48-AD39-A3A241D2FE53}"/>
              </a:ext>
            </a:extLst>
          </p:cNvPr>
          <p:cNvSpPr>
            <a:spLocks noGrp="1"/>
          </p:cNvSpPr>
          <p:nvPr>
            <p:ph type="title"/>
          </p:nvPr>
        </p:nvSpPr>
        <p:spPr/>
        <p:txBody>
          <a:bodyPr/>
          <a:lstStyle/>
          <a:p>
            <a:r>
              <a:rPr lang="ar-SA" dirty="0"/>
              <a:t>جميع مؤشرات</a:t>
            </a:r>
            <a:br>
              <a:rPr lang="en-US" dirty="0"/>
            </a:br>
            <a:r>
              <a:rPr lang="ar-SA" dirty="0"/>
              <a:t>الأداء</a:t>
            </a:r>
            <a:endParaRPr lang="en-GB" dirty="0"/>
          </a:p>
        </p:txBody>
      </p:sp>
      <p:sp>
        <p:nvSpPr>
          <p:cNvPr id="3" name="Slide Number Placeholder 2">
            <a:extLst>
              <a:ext uri="{FF2B5EF4-FFF2-40B4-BE49-F238E27FC236}">
                <a16:creationId xmlns:a16="http://schemas.microsoft.com/office/drawing/2014/main" id="{10A08B73-C07E-C2E8-B6B7-42DF918BEE54}"/>
              </a:ext>
            </a:extLst>
          </p:cNvPr>
          <p:cNvSpPr>
            <a:spLocks noGrp="1"/>
          </p:cNvSpPr>
          <p:nvPr>
            <p:ph type="sldNum" sz="quarter" idx="4"/>
          </p:nvPr>
        </p:nvSpPr>
        <p:spPr/>
        <p:txBody>
          <a:bodyPr/>
          <a:lstStyle/>
          <a:p>
            <a:fld id="{E75C2C89-F887-4946-9289-77479B29E3CB}" type="slidenum">
              <a:rPr lang="en-US" smtClean="0"/>
              <a:pPr/>
              <a:t>9</a:t>
            </a:fld>
            <a:endParaRPr lang="en-US"/>
          </a:p>
        </p:txBody>
      </p:sp>
    </p:spTree>
    <p:extLst>
      <p:ext uri="{BB962C8B-B14F-4D97-AF65-F5344CB8AC3E}">
        <p14:creationId xmlns:p14="http://schemas.microsoft.com/office/powerpoint/2010/main" val="733038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3.13014225110772104088E+00&quot;&gt;&lt;m_msothmcolidx val=&quot;0&quot;/&gt;&lt;m_rgb r=&quot;EF&quot; g=&quot;EF&quot; b=&quot;EF&quot;/&gt;&lt;/elem&gt;&lt;elem m_fUsage=&quot;1.83971845024250701961E+00&quot;&gt;&lt;m_msothmcolidx val=&quot;0&quot;/&gt;&lt;m_rgb r=&quot;CD&quot; g=&quot;CD&quot; b=&quot;CD&quot;/&gt;&lt;/elem&gt;&lt;elem m_fUsage=&quot;1.73054615550390011869E+00&quot;&gt;&lt;m_msothmcolidx val=&quot;7&quot;/&gt;&lt;/elem&gt;&lt;elem m_fUsage=&quot;1.00000000000000000000E+00&quot;&gt;&lt;m_msothmcolidx val=&quot;0&quot;/&gt;&lt;m_rgb r=&quot;D0&quot; g=&quot;D8&quot; b=&quot;E4&quot;/&gt;&lt;/elem&gt;&lt;elem m_fUsage=&quot;9.22107446602744795783E-01&quot;&gt;&lt;m_msothmcolidx val=&quot;0&quot;/&gt;&lt;m_rgb r=&quot;96&quot; g=&quot;7A&quot; b=&quot;41&quot;/&gt;&lt;/elem&gt;&lt;elem m_fUsage=&quot;8.17887699000000023553E-01&quot;&gt;&lt;m_msothmcolidx val=&quot;0&quot;/&gt;&lt;m_rgb r=&quot;D5&quot; g=&quot;C2&quot; b=&quot;9D&quot;/&gt;&lt;/elem&gt;&lt;elem m_fUsage=&quot;4.78413006307035315601E-01&quot;&gt;&lt;m_msothmcolidx val=&quot;0&quot;/&gt;&lt;m_rgb r=&quot;EF&quot; g=&quot;7A&quot; b=&quot;04&quot;/&gt;&lt;/elem&gt;&lt;elem m_fUsage=&quot;7.99434074223005636251E-02&quot;&gt;&lt;m_msothmcolidx val=&quot;0&quot;/&gt;&lt;m_rgb r=&quot;E6&quot; g=&quot;E6&quot; b=&quot;E6&quot;/&gt;&lt;/elem&gt;&lt;elem m_fUsage=&quot;1.96627050475553261533E-04&quot;&gt;&lt;m_msothmcolidx val=&quot;0&quot;/&gt;&lt;m_rgb r=&quot;96&quot; g=&quot;7A&quot; b=&quot;59&quot;/&gt;&lt;/elem&gt;&lt;/m_vecMRU&gt;&lt;/m_mruColor&gt;&lt;m_eweekdayFirstOfWeek val=&quot;1&quot;/&gt;&lt;m_eweekdayFirstOfWorkweek val=&quot;1&quot;/&gt;&lt;m_eweekdayFirstOfWeekend val=&quot;6&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NG_English">
  <a:themeElements>
    <a:clrScheme name="MNGDP Colors">
      <a:dk1>
        <a:srgbClr val="1F1F1F"/>
      </a:dk1>
      <a:lt1>
        <a:srgbClr val="FFFFFF"/>
      </a:lt1>
      <a:dk2>
        <a:srgbClr val="1F1F1F"/>
      </a:dk2>
      <a:lt2>
        <a:srgbClr val="BEE4A9"/>
      </a:lt2>
      <a:accent1>
        <a:srgbClr val="48833D"/>
      </a:accent1>
      <a:accent2>
        <a:srgbClr val="BDA065"/>
      </a:accent2>
      <a:accent3>
        <a:srgbClr val="33435A"/>
      </a:accent3>
      <a:accent4>
        <a:srgbClr val="F1ECAA"/>
      </a:accent4>
      <a:accent5>
        <a:srgbClr val="4A73B9"/>
      </a:accent5>
      <a:accent6>
        <a:srgbClr val="A0DDF9"/>
      </a:accent6>
      <a:hlink>
        <a:srgbClr val="BDA065"/>
      </a:hlink>
      <a:folHlink>
        <a:srgbClr val="4A73B9"/>
      </a:folHlink>
    </a:clrScheme>
    <a:fontScheme name="mngdp">
      <a:majorFont>
        <a:latin typeface="Sakkal Majalla"/>
        <a:ea typeface=""/>
        <a:cs typeface="Sakkal Majalla"/>
      </a:majorFont>
      <a:minorFont>
        <a:latin typeface="Sakkal Majalla"/>
        <a:ea typeface=""/>
        <a:cs typeface="Sakkal Majall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w="12700" cap="flat" cmpd="sng" algn="ctr">
          <a:noFill/>
          <a:prstDash val="solid"/>
          <a:miter lim="800000"/>
        </a:ln>
        <a:effectLst/>
      </a:spPr>
      <a:bodyPr rot="0" spcFirstLastPara="0" vertOverflow="overflow" horzOverflow="overflow" vert="horz" wrap="square" lIns="71120" tIns="71120" rIns="71120" bIns="71120" numCol="1" spcCol="0" rtlCol="0" fromWordArt="0" anchor="t" anchorCtr="0" forceAA="0" compatLnSpc="1">
        <a:prstTxWarp prst="textNoShape">
          <a:avLst/>
        </a:prstTxWarp>
        <a:noAutofit/>
      </a:bodyPr>
      <a:lstStyle>
        <a:defPPr marR="0" algn="l" defTabSz="914400" rtl="0" eaLnBrk="1" fontAlgn="auto" latinLnBrk="0" hangingPunct="1">
          <a:lnSpc>
            <a:spcPct val="90000"/>
          </a:lnSpc>
          <a:spcBef>
            <a:spcPts val="0"/>
          </a:spcBef>
          <a:spcAft>
            <a:spcPts val="300"/>
          </a:spcAft>
          <a:buClr>
            <a:srgbClr val="1F1F1F"/>
          </a:buClr>
          <a:buSzPct val="100000"/>
          <a:tabLst/>
          <a:defRPr kumimoji="0" sz="1800" b="0" i="0" u="none" strike="noStrike" kern="1200" cap="none" spc="0" normalizeH="0" baseline="0" noProof="0" dirty="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1"/>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oAutofit/>
      </a:bodyPr>
      <a:lstStyle>
        <a:defPPr algn="l">
          <a:defRPr sz="2800" dirty="0" smtClean="0">
            <a:solidFill>
              <a:schemeClr val="accent1"/>
            </a:solidFill>
          </a:defRPr>
        </a:defPPr>
      </a:lstStyle>
    </a:txDef>
  </a:objectDefaults>
  <a:extraClrSchemeLst/>
  <a:extLst>
    <a:ext uri="{05A4C25C-085E-4340-85A3-A5531E510DB2}">
      <thm15:themeFamily xmlns:thm15="http://schemas.microsoft.com/office/thememl/2012/main" name="MNG_2021_Template_072021.pptx" id="{9F59EAB8-F9B3-4257-B86C-9D3F9E989C6B}" vid="{115DBF9D-C854-4129-AAD8-E57CF11B914B}"/>
    </a:ext>
  </a:extLst>
</a:theme>
</file>

<file path=ppt/theme/theme2.xml><?xml version="1.0" encoding="utf-8"?>
<a:theme xmlns:a="http://schemas.openxmlformats.org/drawingml/2006/main" name="_Arabic Theme">
  <a:themeElements>
    <a:clrScheme name="MNGDP Colors">
      <a:dk1>
        <a:srgbClr val="1F1F1F"/>
      </a:dk1>
      <a:lt1>
        <a:srgbClr val="FFFFFF"/>
      </a:lt1>
      <a:dk2>
        <a:srgbClr val="1F1F1F"/>
      </a:dk2>
      <a:lt2>
        <a:srgbClr val="BEE4A9"/>
      </a:lt2>
      <a:accent1>
        <a:srgbClr val="48833D"/>
      </a:accent1>
      <a:accent2>
        <a:srgbClr val="BDA065"/>
      </a:accent2>
      <a:accent3>
        <a:srgbClr val="33435A"/>
      </a:accent3>
      <a:accent4>
        <a:srgbClr val="F1ECAA"/>
      </a:accent4>
      <a:accent5>
        <a:srgbClr val="4A73B9"/>
      </a:accent5>
      <a:accent6>
        <a:srgbClr val="A0DDF9"/>
      </a:accent6>
      <a:hlink>
        <a:srgbClr val="BDA065"/>
      </a:hlink>
      <a:folHlink>
        <a:srgbClr val="4A73B9"/>
      </a:folHlink>
    </a:clrScheme>
    <a:fontScheme name="mngdp">
      <a:majorFont>
        <a:latin typeface="Sakkal Majalla"/>
        <a:ea typeface=""/>
        <a:cs typeface="Sakkal Majalla"/>
      </a:majorFont>
      <a:minorFont>
        <a:latin typeface="Sakkal Majalla"/>
        <a:ea typeface=""/>
        <a:cs typeface="Sakkal Majall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oAutofit/>
      </a:bodyPr>
      <a:lstStyle>
        <a:defPPr algn="l">
          <a:defRPr sz="2800" dirty="0" smtClean="0">
            <a:solidFill>
              <a:schemeClr val="accent1"/>
            </a:solidFill>
          </a:defRPr>
        </a:defPPr>
      </a:lstStyle>
    </a:txDef>
  </a:objectDefaults>
  <a:extraClrSchemeLst/>
  <a:extLst>
    <a:ext uri="{05A4C25C-085E-4340-85A3-A5531E510DB2}">
      <thm15:themeFamily xmlns:thm15="http://schemas.microsoft.com/office/thememl/2012/main" name="MNGDP_EN.pptx" id="{70E97D8E-08A1-46D5-819D-EF6DC6374A1E}" vid="{7F7A06C8-96D2-4AB3-BC90-2FCE1FF20FC6}"/>
    </a:ext>
  </a:extLst>
</a:theme>
</file>

<file path=ppt/theme/theme3.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5b0fb0f-5c54-47d3-bd1b-0459a412ffc8">
      <UserInfo>
        <DisplayName>Worsley, Duncan</DisplayName>
        <AccountId>73</AccountId>
        <AccountType/>
      </UserInfo>
      <UserInfo>
        <DisplayName>Lahlou, Ghita</DisplayName>
        <AccountId>51</AccountId>
        <AccountType/>
      </UserInfo>
      <UserInfo>
        <DisplayName>Neri, Armando</DisplayName>
        <AccountId>229</AccountId>
        <AccountType/>
      </UserInfo>
      <UserInfo>
        <DisplayName>Jain, Sanidhya</DisplayName>
        <AccountId>1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24D38A7B602E64AA6CA8FA6237F2294" ma:contentTypeVersion="13" ma:contentTypeDescription="Create a new document." ma:contentTypeScope="" ma:versionID="d12f6633587ab1f7f7752dc7aa8a29c6">
  <xsd:schema xmlns:xsd="http://www.w3.org/2001/XMLSchema" xmlns:xs="http://www.w3.org/2001/XMLSchema" xmlns:p="http://schemas.microsoft.com/office/2006/metadata/properties" xmlns:ns2="6e2a292d-d27c-4ea0-806c-d7710cb61809" xmlns:ns3="b5b0fb0f-5c54-47d3-bd1b-0459a412ffc8" targetNamespace="http://schemas.microsoft.com/office/2006/metadata/properties" ma:root="true" ma:fieldsID="e7fdbf6434c0a938ae1273c5e60754fa" ns2:_="" ns3:_="">
    <xsd:import namespace="6e2a292d-d27c-4ea0-806c-d7710cb61809"/>
    <xsd:import namespace="b5b0fb0f-5c54-47d3-bd1b-0459a412ffc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2a292d-d27c-4ea0-806c-d7710cb618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5b0fb0f-5c54-47d3-bd1b-0459a412ffc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DE524F-2618-4EFE-ABB4-152050FBE34C}">
  <ds:schemaRefs>
    <ds:schemaRef ds:uri="http://schemas.microsoft.com/sharepoint/v3/contenttype/forms"/>
  </ds:schemaRefs>
</ds:datastoreItem>
</file>

<file path=customXml/itemProps2.xml><?xml version="1.0" encoding="utf-8"?>
<ds:datastoreItem xmlns:ds="http://schemas.openxmlformats.org/officeDocument/2006/customXml" ds:itemID="{98A32F64-1E7A-49B3-A827-8C9706BCF1FE}">
  <ds:schemaRefs>
    <ds:schemaRef ds:uri="http://www.w3.org/XML/1998/namespace"/>
    <ds:schemaRef ds:uri="http://schemas.microsoft.com/office/infopath/2007/PartnerControls"/>
    <ds:schemaRef ds:uri="http://purl.org/dc/terms/"/>
    <ds:schemaRef ds:uri="http://schemas.microsoft.com/office/2006/documentManagement/types"/>
    <ds:schemaRef ds:uri="http://purl.org/dc/dcmitype/"/>
    <ds:schemaRef ds:uri="http://purl.org/dc/elements/1.1/"/>
    <ds:schemaRef ds:uri="http://schemas.microsoft.com/office/2006/metadata/properties"/>
    <ds:schemaRef ds:uri="http://schemas.openxmlformats.org/package/2006/metadata/core-properties"/>
    <ds:schemaRef ds:uri="b5b0fb0f-5c54-47d3-bd1b-0459a412ffc8"/>
    <ds:schemaRef ds:uri="6e2a292d-d27c-4ea0-806c-d7710cb61809"/>
  </ds:schemaRefs>
</ds:datastoreItem>
</file>

<file path=customXml/itemProps3.xml><?xml version="1.0" encoding="utf-8"?>
<ds:datastoreItem xmlns:ds="http://schemas.openxmlformats.org/officeDocument/2006/customXml" ds:itemID="{E18DD476-C7E9-4FE8-A81C-3A8490E0318E}">
  <ds:schemaRefs>
    <ds:schemaRef ds:uri="6e2a292d-d27c-4ea0-806c-d7710cb61809"/>
    <ds:schemaRef ds:uri="b5b0fb0f-5c54-47d3-bd1b-0459a412ff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NGDP_Template_16012020</Template>
  <TotalTime>2547</TotalTime>
  <Words>1005</Words>
  <Application>Microsoft Office PowerPoint</Application>
  <PresentationFormat>Widescreen</PresentationFormat>
  <Paragraphs>290</Paragraphs>
  <Slides>3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2" baseType="lpstr">
      <vt:lpstr>Arial</vt:lpstr>
      <vt:lpstr>Georgia</vt:lpstr>
      <vt:lpstr>Georgia Pro</vt:lpstr>
      <vt:lpstr>Roboto</vt:lpstr>
      <vt:lpstr>Sakkal Majalla</vt:lpstr>
      <vt:lpstr>Times New Roman</vt:lpstr>
      <vt:lpstr>Verdana</vt:lpstr>
      <vt:lpstr>1_MNG_English</vt:lpstr>
      <vt:lpstr>_Arabic Theme</vt:lpstr>
      <vt:lpstr>think-cell Slide</vt:lpstr>
      <vt:lpstr>مشروع تنفيذ النظام الالكتروني لإدارة الاستراتيجية لدى برنامج تطوير وزارة الحرس الوطني </vt:lpstr>
      <vt:lpstr>المحتوى</vt:lpstr>
      <vt:lpstr>المحتوى</vt:lpstr>
      <vt:lpstr>صفحة تسجيل الدخول</vt:lpstr>
      <vt:lpstr>صفحة تسجيل الدخول</vt:lpstr>
      <vt:lpstr>الصفحة الرئيسية</vt:lpstr>
      <vt:lpstr>الصفحة الرئيسية </vt:lpstr>
      <vt:lpstr>الإستراتيجية </vt:lpstr>
      <vt:lpstr>جميع مؤشرات الأداء</vt:lpstr>
      <vt:lpstr>جميع مؤشرات الأداء</vt:lpstr>
      <vt:lpstr>مركز المهام</vt:lpstr>
      <vt:lpstr>مركز المهام</vt:lpstr>
      <vt:lpstr>مركز المهام</vt:lpstr>
      <vt:lpstr>مركز المهام</vt:lpstr>
      <vt:lpstr>مركز المهام</vt:lpstr>
      <vt:lpstr>مركز المهام</vt:lpstr>
      <vt:lpstr>المبادرات</vt:lpstr>
      <vt:lpstr>المبادرات</vt:lpstr>
      <vt:lpstr>المبادرات</vt:lpstr>
      <vt:lpstr>المبادرات</vt:lpstr>
      <vt:lpstr>المبادرات</vt:lpstr>
      <vt:lpstr>التقارير</vt:lpstr>
      <vt:lpstr>التقارير</vt:lpstr>
      <vt:lpstr>لوحة أداء</vt:lpstr>
      <vt:lpstr>لوحة أداء</vt:lpstr>
      <vt:lpstr>لوحة أداء</vt:lpstr>
      <vt:lpstr>لوحة أداء</vt:lpstr>
      <vt:lpstr>لوحة أداء</vt:lpstr>
      <vt:lpstr>لوحة أداء</vt:lpstr>
      <vt:lpstr>لوحة أداء</vt:lpstr>
      <vt:lpstr>الخروج من النظام</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NG Cybersecurity Strategy</dc:title>
  <dc:creator>Sanidhya.Jain@kearney.com</dc:creator>
  <cp:lastModifiedBy>Wasan Alkaltham</cp:lastModifiedBy>
  <cp:revision>47</cp:revision>
  <cp:lastPrinted>2021-10-16T05:49:28Z</cp:lastPrinted>
  <dcterms:created xsi:type="dcterms:W3CDTF">2021-07-09T15:43:26Z</dcterms:created>
  <dcterms:modified xsi:type="dcterms:W3CDTF">2025-02-17T08: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D38A7B602E64AA6CA8FA6237F2294</vt:lpwstr>
  </property>
  <property fmtid="{D5CDD505-2E9C-101B-9397-08002B2CF9AE}" pid="3" name="MSIP_Label_0e815a84-bb14-486b-9367-c1af54c95fa4_Enabled">
    <vt:lpwstr>true</vt:lpwstr>
  </property>
  <property fmtid="{D5CDD505-2E9C-101B-9397-08002B2CF9AE}" pid="4" name="MSIP_Label_0e815a84-bb14-486b-9367-c1af54c95fa4_ContentBits">
    <vt:lpwstr>0</vt:lpwstr>
  </property>
  <property fmtid="{D5CDD505-2E9C-101B-9397-08002B2CF9AE}" pid="5" name="MSIP_Label_0e815a84-bb14-486b-9367-c1af54c95fa4_SetDate">
    <vt:lpwstr>2021-09-30T13:37:37Z</vt:lpwstr>
  </property>
  <property fmtid="{D5CDD505-2E9C-101B-9397-08002B2CF9AE}" pid="6" name="MSIP_Label_0e815a84-bb14-486b-9367-c1af54c95fa4_ActionId">
    <vt:lpwstr>e26804aa-084e-47b7-88cd-79211dbc07a6</vt:lpwstr>
  </property>
  <property fmtid="{D5CDD505-2E9C-101B-9397-08002B2CF9AE}" pid="7" name="MSIP_Label_0e815a84-bb14-486b-9367-c1af54c95fa4_SiteId">
    <vt:lpwstr>5dc645ed-297f-4dca-b0af-2339c71c5388</vt:lpwstr>
  </property>
  <property fmtid="{D5CDD505-2E9C-101B-9397-08002B2CF9AE}" pid="8" name="MSIP_Label_0e815a84-bb14-486b-9367-c1af54c95fa4_Method">
    <vt:lpwstr>Standard</vt:lpwstr>
  </property>
  <property fmtid="{D5CDD505-2E9C-101B-9397-08002B2CF9AE}" pid="9" name="MSIP_Label_0e815a84-bb14-486b-9367-c1af54c95fa4_Name">
    <vt:lpwstr>Standard</vt:lpwstr>
  </property>
</Properties>
</file>